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4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3"/>
  </p:sldMasterIdLst>
  <p:notesMasterIdLst>
    <p:notesMasterId r:id="rId17"/>
  </p:notesMasterIdLst>
  <p:handoutMasterIdLst>
    <p:handoutMasterId r:id="rId18"/>
  </p:handoutMasterIdLst>
  <p:sldIdLst>
    <p:sldId id="803" r:id="rId4"/>
    <p:sldId id="801" r:id="rId5"/>
    <p:sldId id="802" r:id="rId6"/>
    <p:sldId id="794" r:id="rId7"/>
    <p:sldId id="806" r:id="rId8"/>
    <p:sldId id="804" r:id="rId9"/>
    <p:sldId id="796" r:id="rId10"/>
    <p:sldId id="792" r:id="rId11"/>
    <p:sldId id="766" r:id="rId12"/>
    <p:sldId id="798" r:id="rId13"/>
    <p:sldId id="799" r:id="rId14"/>
    <p:sldId id="805" r:id="rId15"/>
    <p:sldId id="785" r:id="rId16"/>
  </p:sldIdLst>
  <p:sldSz cx="9144000" cy="5143500" type="screen16x9"/>
  <p:notesSz cx="6797675" cy="9926638"/>
  <p:custDataLst>
    <p:tags r:id="rId19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2618">
          <p15:clr>
            <a:srgbClr val="A4A3A4"/>
          </p15:clr>
        </p15:guide>
        <p15:guide id="6" orient="horz" pos="2527">
          <p15:clr>
            <a:srgbClr val="A4A3A4"/>
          </p15:clr>
        </p15:guide>
        <p15:guide id="7" orient="horz" pos="2119">
          <p15:clr>
            <a:srgbClr val="A4A3A4"/>
          </p15:clr>
        </p15:guide>
        <p15:guide id="8" orient="horz" pos="2028">
          <p15:clr>
            <a:srgbClr val="A4A3A4"/>
          </p15:clr>
        </p15:guide>
        <p15:guide id="9" pos="2835">
          <p15:clr>
            <a:srgbClr val="A4A3A4"/>
          </p15:clr>
        </p15:guide>
        <p15:guide id="10" pos="2925">
          <p15:clr>
            <a:srgbClr val="A4A3A4"/>
          </p15:clr>
        </p15:guide>
        <p15:guide id="11" pos="3742">
          <p15:clr>
            <a:srgbClr val="A4A3A4"/>
          </p15:clr>
        </p15:guide>
        <p15:guide id="12" pos="3833">
          <p15:clr>
            <a:srgbClr val="A4A3A4"/>
          </p15:clr>
        </p15:guide>
        <p15:guide id="13" pos="4649">
          <p15:clr>
            <a:srgbClr val="A4A3A4"/>
          </p15:clr>
        </p15:guide>
        <p15:guide id="14" pos="4740">
          <p15:clr>
            <a:srgbClr val="A4A3A4"/>
          </p15:clr>
        </p15:guide>
        <p15:guide id="15" pos="2018">
          <p15:clr>
            <a:srgbClr val="A4A3A4"/>
          </p15:clr>
        </p15:guide>
        <p15:guide id="16" pos="192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C3FF"/>
    <a:srgbClr val="004186"/>
    <a:srgbClr val="F9BE9D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81" autoAdjust="0"/>
    <p:restoredTop sz="96145" autoAdjust="0"/>
  </p:normalViewPr>
  <p:slideViewPr>
    <p:cSldViewPr>
      <p:cViewPr varScale="1">
        <p:scale>
          <a:sx n="91" d="100"/>
          <a:sy n="91" d="100"/>
        </p:scale>
        <p:origin x="684" y="90"/>
      </p:cViewPr>
      <p:guideLst>
        <p:guide orient="horz" pos="2981"/>
        <p:guide orient="horz" pos="3026"/>
        <p:guide orient="horz" pos="3117"/>
        <p:guide orient="horz" pos="577"/>
        <p:guide orient="horz" pos="2618"/>
        <p:guide orient="horz" pos="2527"/>
        <p:guide orient="horz" pos="2119"/>
        <p:guide orient="horz" pos="2028"/>
        <p:guide pos="2835"/>
        <p:guide pos="2925"/>
        <p:guide pos="3742"/>
        <p:guide pos="3833"/>
        <p:guide pos="4649"/>
        <p:guide pos="4740"/>
        <p:guide pos="2018"/>
        <p:guide pos="192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>
      <p:cViewPr>
        <p:scale>
          <a:sx n="100" d="100"/>
          <a:sy n="100" d="100"/>
        </p:scale>
        <p:origin x="2766" y="-672"/>
      </p:cViewPr>
      <p:guideLst>
        <p:guide orient="horz" pos="5938"/>
        <p:guide orient="horz" pos="495"/>
        <p:guide pos="281"/>
        <p:guide pos="40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1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22963" y="195263"/>
            <a:ext cx="4318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46088" y="9428163"/>
            <a:ext cx="4968875" cy="287337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</a:rPr>
              <a:t>© </a:t>
            </a:r>
            <a:r>
              <a:rPr lang="en-US" dirty="0" err="1">
                <a:latin typeface="+mn-lt"/>
              </a:rPr>
              <a:t>GfK</a:t>
            </a:r>
            <a:r>
              <a:rPr lang="en-US" dirty="0">
                <a:latin typeface="+mn-lt"/>
              </a:rPr>
              <a:t> </a:t>
            </a:r>
            <a:fld id="{C8998D9E-49B2-4097-B552-57EEB9E5A717}" type="datetime4">
              <a:rPr lang="en-US" smtClean="0">
                <a:latin typeface="+mn-lt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May 24, 2017</a:t>
            </a:fld>
            <a:r>
              <a:rPr lang="en-US" dirty="0" smtClean="0">
                <a:latin typeface="+mn-lt"/>
              </a:rPr>
              <a:t> </a:t>
            </a:r>
            <a:r>
              <a:rPr lang="en-US" dirty="0">
                <a:latin typeface="+mn-lt"/>
              </a:rPr>
              <a:t>| Title of </a:t>
            </a:r>
            <a:r>
              <a:rPr lang="en-US" dirty="0" smtClean="0">
                <a:latin typeface="+mn-lt"/>
              </a:rPr>
              <a:t>presentation</a:t>
            </a:r>
            <a:endParaRPr lang="en-US" dirty="0">
              <a:latin typeface="+mn-lt"/>
            </a:endParaRPr>
          </a:p>
        </p:txBody>
      </p:sp>
      <p:sp>
        <p:nvSpPr>
          <p:cNvPr id="20484" name="Rectangle 10"/>
          <p:cNvSpPr>
            <a:spLocks noChangeArrowheads="1"/>
          </p:cNvSpPr>
          <p:nvPr/>
        </p:nvSpPr>
        <p:spPr bwMode="gray">
          <a:xfrm>
            <a:off x="5703888" y="9428163"/>
            <a:ext cx="64770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95715426-1563-4DF0-9720-C069C72AD0AD}" type="slidenum">
              <a:rPr lang="de-DE" altLang="uk-UA" sz="800" smtClean="0">
                <a:solidFill>
                  <a:schemeClr val="bg2"/>
                </a:solidFill>
              </a:rPr>
              <a:pPr algn="r" eaLnBrk="1" hangingPunct="1">
                <a:defRPr/>
              </a:pPr>
              <a:t>‹#›</a:t>
            </a:fld>
            <a:endParaRPr lang="de-DE" altLang="uk-UA" sz="80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9282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088" y="787400"/>
            <a:ext cx="5905500" cy="3322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4825"/>
            <a:ext cx="5905500" cy="482441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6088" y="9428163"/>
            <a:ext cx="4968875" cy="287337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</a:rPr>
              <a:t>© </a:t>
            </a:r>
            <a:r>
              <a:rPr lang="en-US" dirty="0" err="1">
                <a:latin typeface="+mn-lt"/>
              </a:rPr>
              <a:t>GfK</a:t>
            </a:r>
            <a:r>
              <a:rPr lang="en-US" dirty="0">
                <a:latin typeface="+mn-lt"/>
              </a:rPr>
              <a:t> </a:t>
            </a:r>
            <a:fld id="{0B798607-B8D6-44E8-B6BA-DA2D673578FB}" type="datetime4">
              <a:rPr lang="en-US" smtClean="0">
                <a:latin typeface="+mn-lt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May 24, 2017</a:t>
            </a:fld>
            <a:r>
              <a:rPr lang="en-US" dirty="0" smtClean="0">
                <a:latin typeface="+mn-lt"/>
              </a:rPr>
              <a:t> </a:t>
            </a:r>
            <a:r>
              <a:rPr lang="en-US" dirty="0">
                <a:latin typeface="+mn-lt"/>
              </a:rPr>
              <a:t>| Title of </a:t>
            </a:r>
            <a:r>
              <a:rPr lang="en-US" dirty="0" smtClean="0">
                <a:latin typeface="+mn-lt"/>
              </a:rPr>
              <a:t>presentation</a:t>
            </a:r>
            <a:endParaRPr lang="en-US" dirty="0">
              <a:latin typeface="+mn-lt"/>
            </a:endParaRPr>
          </a:p>
        </p:txBody>
      </p:sp>
      <p:sp>
        <p:nvSpPr>
          <p:cNvPr id="19461" name="Rectangle 1"/>
          <p:cNvSpPr>
            <a:spLocks noChangeArrowheads="1"/>
          </p:cNvSpPr>
          <p:nvPr/>
        </p:nvSpPr>
        <p:spPr bwMode="gray">
          <a:xfrm>
            <a:off x="5703888" y="9428163"/>
            <a:ext cx="64770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65A6F7D2-978F-4EC2-A818-009238A5A751}" type="slidenum">
              <a:rPr lang="de-DE" altLang="uk-UA" sz="800" smtClean="0">
                <a:solidFill>
                  <a:schemeClr val="bg2"/>
                </a:solidFill>
              </a:rPr>
              <a:pPr algn="r" eaLnBrk="1" hangingPunct="1">
                <a:defRPr/>
              </a:pPr>
              <a:t>‹#›</a:t>
            </a:fld>
            <a:endParaRPr lang="de-DE" altLang="uk-UA" sz="80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5316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ts val="3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2875" indent="-142875" algn="l" rtl="0" eaLnBrk="0" fontAlgn="base" hangingPunct="0">
      <a:spcBef>
        <a:spcPts val="300"/>
      </a:spcBef>
      <a:spcAft>
        <a:spcPct val="0"/>
      </a:spcAft>
      <a:buFont typeface="Wingdings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7338" indent="-142875" algn="l" rtl="0" eaLnBrk="0" fontAlgn="base" hangingPunct="0">
      <a:spcBef>
        <a:spcPts val="300"/>
      </a:spcBef>
      <a:spcAft>
        <a:spcPct val="0"/>
      </a:spcAft>
      <a:buFont typeface="Wingdings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1800" indent="-142875" algn="l" rtl="0" eaLnBrk="0" fontAlgn="base" hangingPunct="0">
      <a:spcBef>
        <a:spcPts val="300"/>
      </a:spcBef>
      <a:spcAft>
        <a:spcPct val="0"/>
      </a:spcAft>
      <a:buFont typeface="Wingdings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4675" indent="-142875" algn="l" rtl="0" eaLnBrk="0" fontAlgn="base" hangingPunct="0">
      <a:spcBef>
        <a:spcPts val="300"/>
      </a:spcBef>
      <a:spcAft>
        <a:spcPct val="0"/>
      </a:spcAft>
      <a:buFont typeface="Wingdings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а полмиллиона больше покупателей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8149175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295246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6739945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uk-UA" altLang="uk-UA" dirty="0" smtClean="0"/>
          </a:p>
        </p:txBody>
      </p:sp>
      <p:sp>
        <p:nvSpPr>
          <p:cNvPr id="44036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814763" y="9371013"/>
            <a:ext cx="2919412" cy="495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D3D329DF-6C71-40A1-8FA8-5B5AD42D8793}" type="slidenum">
              <a:rPr lang="uk-UA" altLang="uk-UA"/>
              <a:pPr eaLnBrk="1" hangingPunct="1"/>
              <a:t>9</a:t>
            </a:fld>
            <a:endParaRPr lang="uk-UA" altLang="uk-UA"/>
          </a:p>
        </p:txBody>
      </p:sp>
    </p:spTree>
    <p:extLst>
      <p:ext uri="{BB962C8B-B14F-4D97-AF65-F5344CB8AC3E}">
        <p14:creationId xmlns:p14="http://schemas.microsoft.com/office/powerpoint/2010/main" val="14119949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6.xml"/><Relationship Id="rId7" Type="http://schemas.openxmlformats.org/officeDocument/2006/relationships/image" Target="../media/image2.w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3.jpg"/><Relationship Id="rId4" Type="http://schemas.openxmlformats.org/officeDocument/2006/relationships/tags" Target="../tags/tag22.xml"/><Relationship Id="rId9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4.xml"/><Relationship Id="rId7" Type="http://schemas.openxmlformats.org/officeDocument/2006/relationships/image" Target="../media/image2.wmf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6.xml"/><Relationship Id="rId7" Type="http://schemas.openxmlformats.org/officeDocument/2006/relationships/image" Target="../media/image2.wmf"/><Relationship Id="rId2" Type="http://schemas.openxmlformats.org/officeDocument/2006/relationships/tags" Target="../tags/tag2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8.xml"/><Relationship Id="rId7" Type="http://schemas.openxmlformats.org/officeDocument/2006/relationships/image" Target="../media/image2.wmf"/><Relationship Id="rId2" Type="http://schemas.openxmlformats.org/officeDocument/2006/relationships/tags" Target="../tags/tag2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0.xml"/><Relationship Id="rId7" Type="http://schemas.openxmlformats.org/officeDocument/2006/relationships/image" Target="../media/image2.wmf"/><Relationship Id="rId2" Type="http://schemas.openxmlformats.org/officeDocument/2006/relationships/tags" Target="../tags/tag2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2.xml"/><Relationship Id="rId7" Type="http://schemas.openxmlformats.org/officeDocument/2006/relationships/image" Target="../media/image2.wmf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8.xml"/><Relationship Id="rId7" Type="http://schemas.openxmlformats.org/officeDocument/2006/relationships/image" Target="../media/image2.w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5.xml"/><Relationship Id="rId7" Type="http://schemas.openxmlformats.org/officeDocument/2006/relationships/image" Target="../media/image2.wmf"/><Relationship Id="rId2" Type="http://schemas.openxmlformats.org/officeDocument/2006/relationships/tags" Target="../tags/tag3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3.jpg"/><Relationship Id="rId4" Type="http://schemas.openxmlformats.org/officeDocument/2006/relationships/tags" Target="../tags/tag38.xml"/><Relationship Id="rId9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10.xml"/><Relationship Id="rId7" Type="http://schemas.openxmlformats.org/officeDocument/2006/relationships/image" Target="../media/image2.wmf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12.xml"/><Relationship Id="rId7" Type="http://schemas.openxmlformats.org/officeDocument/2006/relationships/image" Target="../media/image2.w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image" Target="../media/image2.wmf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6.xml"/><Relationship Id="rId7" Type="http://schemas.openxmlformats.org/officeDocument/2006/relationships/image" Target="../media/image2.wmf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3.jpg"/><Relationship Id="rId4" Type="http://schemas.openxmlformats.org/officeDocument/2006/relationships/tags" Target="../tags/tag19.xml"/><Relationship Id="rId9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13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14"/>
          <p:cNvGrpSpPr>
            <a:grpSpLocks/>
          </p:cNvGrpSpPr>
          <p:nvPr userDrawn="1"/>
        </p:nvGrpSpPr>
        <p:grpSpPr bwMode="auto">
          <a:xfrm>
            <a:off x="323850" y="-315913"/>
            <a:ext cx="8496300" cy="215900"/>
            <a:chOff x="323850" y="-531550"/>
            <a:chExt cx="8496740" cy="432060"/>
          </a:xfrm>
        </p:grpSpPr>
        <p:cxnSp>
          <p:nvCxnSpPr>
            <p:cNvPr id="8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2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2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2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2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2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2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uppieren 27"/>
          <p:cNvGrpSpPr>
            <a:grpSpLocks/>
          </p:cNvGrpSpPr>
          <p:nvPr/>
        </p:nvGrpSpPr>
        <p:grpSpPr bwMode="auto">
          <a:xfrm>
            <a:off x="323850" y="5235575"/>
            <a:ext cx="8496300" cy="215900"/>
            <a:chOff x="323850" y="-531550"/>
            <a:chExt cx="8496740" cy="432060"/>
          </a:xfrm>
        </p:grpSpPr>
        <p:cxnSp>
          <p:nvCxnSpPr>
            <p:cNvPr id="21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3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3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uppieren 7"/>
          <p:cNvGrpSpPr>
            <a:grpSpLocks/>
          </p:cNvGrpSpPr>
          <p:nvPr userDrawn="1"/>
        </p:nvGrpSpPr>
        <p:grpSpPr bwMode="auto">
          <a:xfrm>
            <a:off x="9251950" y="195263"/>
            <a:ext cx="217488" cy="4752975"/>
            <a:chOff x="9252514" y="195486"/>
            <a:chExt cx="216166" cy="4752594"/>
          </a:xfrm>
        </p:grpSpPr>
        <p:cxnSp>
          <p:nvCxnSpPr>
            <p:cNvPr id="34" name="Gerade Verbindung 47"/>
            <p:cNvCxnSpPr/>
            <p:nvPr userDrawn="1"/>
          </p:nvCxnSpPr>
          <p:spPr bwMode="gray">
            <a:xfrm>
              <a:off x="9252514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48"/>
            <p:cNvCxnSpPr/>
            <p:nvPr userDrawn="1"/>
          </p:nvCxnSpPr>
          <p:spPr bwMode="gray">
            <a:xfrm>
              <a:off x="9252514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49"/>
            <p:cNvCxnSpPr/>
            <p:nvPr userDrawn="1"/>
          </p:nvCxnSpPr>
          <p:spPr bwMode="gray">
            <a:xfrm>
              <a:off x="9252514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50"/>
            <p:cNvCxnSpPr/>
            <p:nvPr userDrawn="1"/>
          </p:nvCxnSpPr>
          <p:spPr bwMode="gray">
            <a:xfrm>
              <a:off x="9252514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51"/>
            <p:cNvCxnSpPr/>
            <p:nvPr userDrawn="1"/>
          </p:nvCxnSpPr>
          <p:spPr bwMode="gray">
            <a:xfrm>
              <a:off x="9252514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52"/>
            <p:cNvCxnSpPr/>
            <p:nvPr userDrawn="1"/>
          </p:nvCxnSpPr>
          <p:spPr bwMode="gray">
            <a:xfrm>
              <a:off x="9252514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53"/>
            <p:cNvCxnSpPr/>
            <p:nvPr userDrawn="1"/>
          </p:nvCxnSpPr>
          <p:spPr bwMode="gray">
            <a:xfrm>
              <a:off x="9252514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54"/>
            <p:cNvCxnSpPr/>
            <p:nvPr userDrawn="1"/>
          </p:nvCxnSpPr>
          <p:spPr bwMode="gray">
            <a:xfrm>
              <a:off x="9252514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55"/>
            <p:cNvCxnSpPr/>
            <p:nvPr userDrawn="1"/>
          </p:nvCxnSpPr>
          <p:spPr bwMode="gray">
            <a:xfrm>
              <a:off x="9252514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56"/>
            <p:cNvCxnSpPr/>
            <p:nvPr userDrawn="1"/>
          </p:nvCxnSpPr>
          <p:spPr bwMode="gray">
            <a:xfrm>
              <a:off x="9252514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57"/>
            <p:cNvCxnSpPr/>
            <p:nvPr userDrawn="1"/>
          </p:nvCxnSpPr>
          <p:spPr bwMode="gray">
            <a:xfrm>
              <a:off x="9252514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58"/>
            <p:cNvCxnSpPr/>
            <p:nvPr userDrawn="1"/>
          </p:nvCxnSpPr>
          <p:spPr bwMode="gray">
            <a:xfrm>
              <a:off x="9252514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59"/>
            <p:cNvCxnSpPr/>
            <p:nvPr userDrawn="1"/>
          </p:nvCxnSpPr>
          <p:spPr bwMode="gray">
            <a:xfrm>
              <a:off x="9252514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81"/>
            <p:cNvCxnSpPr/>
            <p:nvPr userDrawn="1"/>
          </p:nvCxnSpPr>
          <p:spPr bwMode="gray">
            <a:xfrm>
              <a:off x="9252514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82"/>
            <p:cNvCxnSpPr/>
            <p:nvPr userDrawn="1"/>
          </p:nvCxnSpPr>
          <p:spPr bwMode="gray">
            <a:xfrm>
              <a:off x="9252514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85"/>
            <p:cNvCxnSpPr/>
            <p:nvPr userDrawn="1"/>
          </p:nvCxnSpPr>
          <p:spPr bwMode="gray">
            <a:xfrm>
              <a:off x="9252514" y="141935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uppieren 63"/>
          <p:cNvGrpSpPr>
            <a:grpSpLocks/>
          </p:cNvGrpSpPr>
          <p:nvPr/>
        </p:nvGrpSpPr>
        <p:grpSpPr bwMode="auto">
          <a:xfrm>
            <a:off x="-325438" y="195263"/>
            <a:ext cx="217488" cy="4752975"/>
            <a:chOff x="9252650" y="195486"/>
            <a:chExt cx="216166" cy="4752594"/>
          </a:xfrm>
        </p:grpSpPr>
        <p:cxnSp>
          <p:nvCxnSpPr>
            <p:cNvPr id="51" name="Gerade Verbindung 64"/>
            <p:cNvCxnSpPr/>
            <p:nvPr userDrawn="1"/>
          </p:nvCxnSpPr>
          <p:spPr bwMode="gray">
            <a:xfrm>
              <a:off x="9252650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66"/>
            <p:cNvCxnSpPr/>
            <p:nvPr userDrawn="1"/>
          </p:nvCxnSpPr>
          <p:spPr bwMode="gray">
            <a:xfrm>
              <a:off x="9252650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67"/>
            <p:cNvCxnSpPr/>
            <p:nvPr userDrawn="1"/>
          </p:nvCxnSpPr>
          <p:spPr bwMode="gray">
            <a:xfrm>
              <a:off x="9252650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68"/>
            <p:cNvCxnSpPr/>
            <p:nvPr userDrawn="1"/>
          </p:nvCxnSpPr>
          <p:spPr bwMode="gray">
            <a:xfrm>
              <a:off x="9252650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69"/>
            <p:cNvCxnSpPr/>
            <p:nvPr userDrawn="1"/>
          </p:nvCxnSpPr>
          <p:spPr bwMode="gray">
            <a:xfrm>
              <a:off x="9252650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70"/>
            <p:cNvCxnSpPr/>
            <p:nvPr userDrawn="1"/>
          </p:nvCxnSpPr>
          <p:spPr bwMode="gray">
            <a:xfrm>
              <a:off x="9252650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71"/>
            <p:cNvCxnSpPr/>
            <p:nvPr userDrawn="1"/>
          </p:nvCxnSpPr>
          <p:spPr bwMode="gray">
            <a:xfrm>
              <a:off x="9252650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72"/>
            <p:cNvCxnSpPr/>
            <p:nvPr userDrawn="1"/>
          </p:nvCxnSpPr>
          <p:spPr bwMode="gray">
            <a:xfrm>
              <a:off x="9252650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73"/>
            <p:cNvCxnSpPr/>
            <p:nvPr userDrawn="1"/>
          </p:nvCxnSpPr>
          <p:spPr bwMode="gray">
            <a:xfrm>
              <a:off x="9252650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74"/>
            <p:cNvCxnSpPr/>
            <p:nvPr userDrawn="1"/>
          </p:nvCxnSpPr>
          <p:spPr bwMode="gray">
            <a:xfrm>
              <a:off x="9252650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75"/>
            <p:cNvCxnSpPr/>
            <p:nvPr userDrawn="1"/>
          </p:nvCxnSpPr>
          <p:spPr bwMode="gray">
            <a:xfrm>
              <a:off x="9252650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76"/>
            <p:cNvCxnSpPr/>
            <p:nvPr userDrawn="1"/>
          </p:nvCxnSpPr>
          <p:spPr bwMode="gray">
            <a:xfrm>
              <a:off x="9252650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77"/>
            <p:cNvCxnSpPr/>
            <p:nvPr userDrawn="1"/>
          </p:nvCxnSpPr>
          <p:spPr bwMode="gray">
            <a:xfrm>
              <a:off x="9252650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80"/>
            <p:cNvCxnSpPr/>
            <p:nvPr userDrawn="1"/>
          </p:nvCxnSpPr>
          <p:spPr bwMode="gray">
            <a:xfrm>
              <a:off x="9252650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83"/>
            <p:cNvCxnSpPr/>
            <p:nvPr userDrawn="1"/>
          </p:nvCxnSpPr>
          <p:spPr bwMode="gray">
            <a:xfrm>
              <a:off x="9252650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84"/>
            <p:cNvCxnSpPr/>
            <p:nvPr userDrawn="1"/>
          </p:nvCxnSpPr>
          <p:spPr bwMode="gray">
            <a:xfrm>
              <a:off x="9252650" y="141300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Rechteck 65"/>
          <p:cNvSpPr>
            <a:spLocks noChangeArrowheads="1"/>
          </p:cNvSpPr>
          <p:nvPr/>
        </p:nvSpPr>
        <p:spPr bwMode="gray">
          <a:xfrm>
            <a:off x="7524750" y="4948238"/>
            <a:ext cx="1295400" cy="1444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B289485D-5B87-494E-8650-5DAB67D4A0F1}" type="slidenum">
              <a:rPr lang="en-US" altLang="uk-UA" sz="800" smtClean="0">
                <a:solidFill>
                  <a:schemeClr val="bg2"/>
                </a:solidFill>
              </a:rPr>
              <a:pPr algn="r" eaLnBrk="1" hangingPunct="1">
                <a:defRPr/>
              </a:pPr>
              <a:t>‹#›</a:t>
            </a:fld>
            <a:endParaRPr lang="en-US" altLang="uk-UA" sz="800" smtClean="0">
              <a:solidFill>
                <a:schemeClr val="bg2"/>
              </a:solidFill>
            </a:endParaRPr>
          </a:p>
        </p:txBody>
      </p:sp>
      <p:sp>
        <p:nvSpPr>
          <p:cNvPr id="68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0" tIns="0" rIns="0" bIns="0" anchor="ctr"/>
          <a:lstStyle/>
          <a:p>
            <a:pPr marL="0" lvl="8">
              <a:defRPr/>
            </a:pPr>
            <a:r>
              <a:rPr lang="en-US" sz="700" dirty="0">
                <a:solidFill>
                  <a:schemeClr val="bg2"/>
                </a:solidFill>
              </a:rPr>
              <a:t>© GfK </a:t>
            </a:r>
            <a:r>
              <a:rPr lang="ru-RU" sz="700" dirty="0">
                <a:solidFill>
                  <a:schemeClr val="bg2"/>
                </a:solidFill>
              </a:rPr>
              <a:t>27 Октября 2016 </a:t>
            </a:r>
            <a:r>
              <a:rPr lang="en-US" sz="700" dirty="0">
                <a:solidFill>
                  <a:schemeClr val="bg2"/>
                </a:solidFill>
              </a:rPr>
              <a:t>| </a:t>
            </a:r>
            <a:r>
              <a:rPr lang="ru-RU" sz="700" dirty="0">
                <a:solidFill>
                  <a:schemeClr val="bg2"/>
                </a:solidFill>
                <a:latin typeface="+mn-lt"/>
              </a:rPr>
              <a:t>Панельные исследования рынка розничных продаж </a:t>
            </a:r>
            <a:r>
              <a:rPr lang="ru-RU" sz="700" dirty="0" err="1">
                <a:solidFill>
                  <a:schemeClr val="bg2"/>
                </a:solidFill>
                <a:latin typeface="+mn-lt"/>
              </a:rPr>
              <a:t>БтиЭ</a:t>
            </a:r>
            <a:r>
              <a:rPr lang="ru-RU" sz="700" dirty="0">
                <a:solidFill>
                  <a:schemeClr val="bg2"/>
                </a:solidFill>
              </a:rPr>
              <a:t> </a:t>
            </a:r>
            <a:r>
              <a:rPr lang="en-US" sz="700" dirty="0">
                <a:solidFill>
                  <a:schemeClr val="bg2"/>
                </a:solidFill>
              </a:rPr>
              <a:t>| </a:t>
            </a:r>
            <a:r>
              <a:rPr lang="ru-RU" sz="700" dirty="0">
                <a:solidFill>
                  <a:schemeClr val="bg2"/>
                </a:solidFill>
              </a:rPr>
              <a:t>Осадчий А. </a:t>
            </a:r>
            <a:r>
              <a:rPr lang="en-US" sz="700" dirty="0">
                <a:solidFill>
                  <a:schemeClr val="bg2"/>
                </a:solidFill>
              </a:rPr>
              <a:t>|</a:t>
            </a:r>
            <a:r>
              <a:rPr lang="ru-RU" sz="700" dirty="0">
                <a:solidFill>
                  <a:schemeClr val="bg2"/>
                </a:solidFill>
              </a:rPr>
              <a:t> </a:t>
            </a:r>
            <a:r>
              <a:rPr lang="en-US" sz="700" dirty="0" err="1">
                <a:solidFill>
                  <a:schemeClr val="bg2"/>
                </a:solidFill>
              </a:rPr>
              <a:t>eCommerce</a:t>
            </a:r>
            <a:r>
              <a:rPr lang="en-US" sz="700" dirty="0">
                <a:solidFill>
                  <a:schemeClr val="bg2"/>
                </a:solidFill>
              </a:rPr>
              <a:t> 2016 </a:t>
            </a:r>
          </a:p>
        </p:txBody>
      </p:sp>
      <p:pic>
        <p:nvPicPr>
          <p:cNvPr id="69" name="Grafik 7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3888" y="195263"/>
            <a:ext cx="57785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" name="VCT_Marker_ID_4" hidden="1"/>
          <p:cNvSpPr/>
          <p:nvPr userDrawn="1">
            <p:custDataLst>
              <p:tags r:id="rId3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72" name="Rechteck 3"/>
          <p:cNvSpPr/>
          <p:nvPr userDrawn="1"/>
        </p:nvSpPr>
        <p:spPr bwMode="gray">
          <a:xfrm>
            <a:off x="0" y="4927600"/>
            <a:ext cx="9144000" cy="2159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49" y="1779587"/>
            <a:ext cx="8496301" cy="1008193"/>
          </a:xfrm>
        </p:spPr>
        <p:txBody>
          <a:bodyPr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73" name="Picture 7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49" t="38459" r="28191" b="44228"/>
          <a:stretch/>
        </p:blipFill>
        <p:spPr>
          <a:xfrm>
            <a:off x="6339395" y="282314"/>
            <a:ext cx="1810353" cy="41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1082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/>
          </p:nvPr>
        </p:nvSpPr>
        <p:spPr bwMode="gray">
          <a:xfrm>
            <a:off x="323410" y="915520"/>
            <a:ext cx="8497180" cy="28804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14862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uppieren 14"/>
          <p:cNvGrpSpPr>
            <a:grpSpLocks/>
          </p:cNvGrpSpPr>
          <p:nvPr userDrawn="1"/>
        </p:nvGrpSpPr>
        <p:grpSpPr bwMode="auto">
          <a:xfrm>
            <a:off x="323850" y="-315913"/>
            <a:ext cx="8496300" cy="215900"/>
            <a:chOff x="323850" y="-531550"/>
            <a:chExt cx="8496740" cy="432060"/>
          </a:xfrm>
        </p:grpSpPr>
        <p:cxnSp>
          <p:nvCxnSpPr>
            <p:cNvPr id="11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7"/>
          <p:cNvGrpSpPr>
            <a:grpSpLocks/>
          </p:cNvGrpSpPr>
          <p:nvPr/>
        </p:nvGrpSpPr>
        <p:grpSpPr bwMode="auto">
          <a:xfrm>
            <a:off x="323850" y="5235575"/>
            <a:ext cx="8496300" cy="215900"/>
            <a:chOff x="323850" y="-531550"/>
            <a:chExt cx="8496740" cy="432060"/>
          </a:xfrm>
        </p:grpSpPr>
        <p:cxnSp>
          <p:nvCxnSpPr>
            <p:cNvPr id="27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7"/>
          <p:cNvGrpSpPr>
            <a:grpSpLocks/>
          </p:cNvGrpSpPr>
          <p:nvPr userDrawn="1"/>
        </p:nvGrpSpPr>
        <p:grpSpPr bwMode="auto">
          <a:xfrm>
            <a:off x="9251950" y="195263"/>
            <a:ext cx="217488" cy="4752975"/>
            <a:chOff x="9252514" y="195486"/>
            <a:chExt cx="216166" cy="4752594"/>
          </a:xfrm>
        </p:grpSpPr>
        <p:cxnSp>
          <p:nvCxnSpPr>
            <p:cNvPr id="40" name="Gerade Verbindung 47"/>
            <p:cNvCxnSpPr/>
            <p:nvPr userDrawn="1"/>
          </p:nvCxnSpPr>
          <p:spPr bwMode="gray">
            <a:xfrm>
              <a:off x="9252514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8"/>
            <p:cNvCxnSpPr/>
            <p:nvPr userDrawn="1"/>
          </p:nvCxnSpPr>
          <p:spPr bwMode="gray">
            <a:xfrm>
              <a:off x="9252514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9"/>
            <p:cNvCxnSpPr/>
            <p:nvPr userDrawn="1"/>
          </p:nvCxnSpPr>
          <p:spPr bwMode="gray">
            <a:xfrm>
              <a:off x="9252514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50"/>
            <p:cNvCxnSpPr/>
            <p:nvPr userDrawn="1"/>
          </p:nvCxnSpPr>
          <p:spPr bwMode="gray">
            <a:xfrm>
              <a:off x="9252514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51"/>
            <p:cNvCxnSpPr/>
            <p:nvPr userDrawn="1"/>
          </p:nvCxnSpPr>
          <p:spPr bwMode="gray">
            <a:xfrm>
              <a:off x="9252514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52"/>
            <p:cNvCxnSpPr/>
            <p:nvPr userDrawn="1"/>
          </p:nvCxnSpPr>
          <p:spPr bwMode="gray">
            <a:xfrm>
              <a:off x="9252514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53"/>
            <p:cNvCxnSpPr/>
            <p:nvPr userDrawn="1"/>
          </p:nvCxnSpPr>
          <p:spPr bwMode="gray">
            <a:xfrm>
              <a:off x="9252514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54"/>
            <p:cNvCxnSpPr/>
            <p:nvPr userDrawn="1"/>
          </p:nvCxnSpPr>
          <p:spPr bwMode="gray">
            <a:xfrm>
              <a:off x="9252514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55"/>
            <p:cNvCxnSpPr/>
            <p:nvPr userDrawn="1"/>
          </p:nvCxnSpPr>
          <p:spPr bwMode="gray">
            <a:xfrm>
              <a:off x="9252514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56"/>
            <p:cNvCxnSpPr/>
            <p:nvPr userDrawn="1"/>
          </p:nvCxnSpPr>
          <p:spPr bwMode="gray">
            <a:xfrm>
              <a:off x="9252514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57"/>
            <p:cNvCxnSpPr/>
            <p:nvPr userDrawn="1"/>
          </p:nvCxnSpPr>
          <p:spPr bwMode="gray">
            <a:xfrm>
              <a:off x="9252514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8"/>
            <p:cNvCxnSpPr/>
            <p:nvPr userDrawn="1"/>
          </p:nvCxnSpPr>
          <p:spPr bwMode="gray">
            <a:xfrm>
              <a:off x="9252514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9"/>
            <p:cNvCxnSpPr/>
            <p:nvPr userDrawn="1"/>
          </p:nvCxnSpPr>
          <p:spPr bwMode="gray">
            <a:xfrm>
              <a:off x="9252514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81"/>
            <p:cNvCxnSpPr/>
            <p:nvPr userDrawn="1"/>
          </p:nvCxnSpPr>
          <p:spPr bwMode="gray">
            <a:xfrm>
              <a:off x="9252514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82"/>
            <p:cNvCxnSpPr/>
            <p:nvPr userDrawn="1"/>
          </p:nvCxnSpPr>
          <p:spPr bwMode="gray">
            <a:xfrm>
              <a:off x="9252514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85"/>
            <p:cNvCxnSpPr/>
            <p:nvPr userDrawn="1"/>
          </p:nvCxnSpPr>
          <p:spPr bwMode="gray">
            <a:xfrm>
              <a:off x="9252514" y="141935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uppieren 63"/>
          <p:cNvGrpSpPr>
            <a:grpSpLocks/>
          </p:cNvGrpSpPr>
          <p:nvPr/>
        </p:nvGrpSpPr>
        <p:grpSpPr bwMode="auto">
          <a:xfrm>
            <a:off x="-325438" y="195263"/>
            <a:ext cx="217488" cy="4752975"/>
            <a:chOff x="9252650" y="195486"/>
            <a:chExt cx="216166" cy="4752594"/>
          </a:xfrm>
        </p:grpSpPr>
        <p:cxnSp>
          <p:nvCxnSpPr>
            <p:cNvPr id="57" name="Gerade Verbindung 64"/>
            <p:cNvCxnSpPr/>
            <p:nvPr userDrawn="1"/>
          </p:nvCxnSpPr>
          <p:spPr bwMode="gray">
            <a:xfrm>
              <a:off x="9252650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66"/>
            <p:cNvCxnSpPr/>
            <p:nvPr userDrawn="1"/>
          </p:nvCxnSpPr>
          <p:spPr bwMode="gray">
            <a:xfrm>
              <a:off x="9252650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67"/>
            <p:cNvCxnSpPr/>
            <p:nvPr userDrawn="1"/>
          </p:nvCxnSpPr>
          <p:spPr bwMode="gray">
            <a:xfrm>
              <a:off x="9252650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68"/>
            <p:cNvCxnSpPr/>
            <p:nvPr userDrawn="1"/>
          </p:nvCxnSpPr>
          <p:spPr bwMode="gray">
            <a:xfrm>
              <a:off x="9252650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9"/>
            <p:cNvCxnSpPr/>
            <p:nvPr userDrawn="1"/>
          </p:nvCxnSpPr>
          <p:spPr bwMode="gray">
            <a:xfrm>
              <a:off x="9252650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70"/>
            <p:cNvCxnSpPr/>
            <p:nvPr userDrawn="1"/>
          </p:nvCxnSpPr>
          <p:spPr bwMode="gray">
            <a:xfrm>
              <a:off x="9252650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71"/>
            <p:cNvCxnSpPr/>
            <p:nvPr userDrawn="1"/>
          </p:nvCxnSpPr>
          <p:spPr bwMode="gray">
            <a:xfrm>
              <a:off x="9252650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72"/>
            <p:cNvCxnSpPr/>
            <p:nvPr userDrawn="1"/>
          </p:nvCxnSpPr>
          <p:spPr bwMode="gray">
            <a:xfrm>
              <a:off x="9252650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73"/>
            <p:cNvCxnSpPr/>
            <p:nvPr userDrawn="1"/>
          </p:nvCxnSpPr>
          <p:spPr bwMode="gray">
            <a:xfrm>
              <a:off x="9252650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74"/>
            <p:cNvCxnSpPr/>
            <p:nvPr userDrawn="1"/>
          </p:nvCxnSpPr>
          <p:spPr bwMode="gray">
            <a:xfrm>
              <a:off x="9252650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75"/>
            <p:cNvCxnSpPr/>
            <p:nvPr userDrawn="1"/>
          </p:nvCxnSpPr>
          <p:spPr bwMode="gray">
            <a:xfrm>
              <a:off x="9252650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76"/>
            <p:cNvCxnSpPr/>
            <p:nvPr userDrawn="1"/>
          </p:nvCxnSpPr>
          <p:spPr bwMode="gray">
            <a:xfrm>
              <a:off x="9252650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77"/>
            <p:cNvCxnSpPr/>
            <p:nvPr userDrawn="1"/>
          </p:nvCxnSpPr>
          <p:spPr bwMode="gray">
            <a:xfrm>
              <a:off x="9252650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80"/>
            <p:cNvCxnSpPr/>
            <p:nvPr userDrawn="1"/>
          </p:nvCxnSpPr>
          <p:spPr bwMode="gray">
            <a:xfrm>
              <a:off x="9252650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83"/>
            <p:cNvCxnSpPr/>
            <p:nvPr userDrawn="1"/>
          </p:nvCxnSpPr>
          <p:spPr bwMode="gray">
            <a:xfrm>
              <a:off x="9252650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84"/>
            <p:cNvCxnSpPr/>
            <p:nvPr userDrawn="1"/>
          </p:nvCxnSpPr>
          <p:spPr bwMode="gray">
            <a:xfrm>
              <a:off x="9252650" y="141300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Rechteck 65"/>
          <p:cNvSpPr>
            <a:spLocks noChangeArrowheads="1"/>
          </p:cNvSpPr>
          <p:nvPr/>
        </p:nvSpPr>
        <p:spPr bwMode="gray">
          <a:xfrm>
            <a:off x="7524750" y="4948238"/>
            <a:ext cx="1295400" cy="1444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A380335A-3D8D-431B-A297-9DFDF2A14184}" type="slidenum">
              <a:rPr lang="en-US" altLang="uk-UA" sz="800" smtClean="0">
                <a:solidFill>
                  <a:schemeClr val="bg2"/>
                </a:solidFill>
              </a:rPr>
              <a:pPr algn="r" eaLnBrk="1" hangingPunct="1">
                <a:defRPr/>
              </a:pPr>
              <a:t>‹#›</a:t>
            </a:fld>
            <a:endParaRPr lang="en-US" altLang="uk-UA" sz="800" smtClean="0">
              <a:solidFill>
                <a:schemeClr val="bg2"/>
              </a:solidFill>
            </a:endParaRPr>
          </a:p>
        </p:txBody>
      </p:sp>
      <p:sp>
        <p:nvSpPr>
          <p:cNvPr id="74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0" tIns="0" rIns="0" bIns="0" anchor="ctr"/>
          <a:lstStyle/>
          <a:p>
            <a:pPr marL="0" marR="0" lvl="8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2"/>
                </a:solidFill>
              </a:rPr>
              <a:t>© GfK </a:t>
            </a:r>
            <a:r>
              <a:rPr lang="ru-RU" sz="700" dirty="0" smtClean="0">
                <a:solidFill>
                  <a:schemeClr val="bg2"/>
                </a:solidFill>
              </a:rPr>
              <a:t>25 мая 2017 </a:t>
            </a:r>
            <a:r>
              <a:rPr lang="en-US" sz="700" dirty="0" smtClean="0">
                <a:solidFill>
                  <a:schemeClr val="bg2"/>
                </a:solidFill>
              </a:rPr>
              <a:t>| </a:t>
            </a:r>
            <a:r>
              <a:rPr lang="ru-RU" sz="700" dirty="0" smtClean="0">
                <a:solidFill>
                  <a:schemeClr val="bg2"/>
                </a:solidFill>
              </a:rPr>
              <a:t>Осадчий А. </a:t>
            </a:r>
            <a:r>
              <a:rPr lang="en-US" sz="700" dirty="0" smtClean="0">
                <a:solidFill>
                  <a:schemeClr val="bg2"/>
                </a:solidFill>
              </a:rPr>
              <a:t>|</a:t>
            </a:r>
            <a:r>
              <a:rPr lang="ru-RU" sz="700" dirty="0" smtClean="0">
                <a:solidFill>
                  <a:schemeClr val="bg2"/>
                </a:solidFill>
              </a:rPr>
              <a:t> </a:t>
            </a:r>
            <a:r>
              <a:rPr lang="uk-UA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Аудитория Уанета. Статистика онлайн-покупок </a:t>
            </a:r>
            <a:r>
              <a:rPr lang="en-US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|</a:t>
            </a:r>
            <a:r>
              <a:rPr lang="ru-RU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n-US" sz="700" dirty="0" err="1" smtClean="0">
                <a:solidFill>
                  <a:schemeClr val="bg2"/>
                </a:solidFill>
              </a:rPr>
              <a:t>iForum</a:t>
            </a:r>
            <a:r>
              <a:rPr lang="en-US" sz="700" baseline="0" dirty="0" smtClean="0">
                <a:solidFill>
                  <a:schemeClr val="bg2"/>
                </a:solidFill>
              </a:rPr>
              <a:t> </a:t>
            </a:r>
            <a:r>
              <a:rPr lang="en-US" sz="700" dirty="0" smtClean="0">
                <a:solidFill>
                  <a:schemeClr val="bg2"/>
                </a:solidFill>
              </a:rPr>
              <a:t>2017 </a:t>
            </a:r>
            <a:endParaRPr lang="en-US" sz="700" dirty="0">
              <a:solidFill>
                <a:schemeClr val="bg2"/>
              </a:solidFill>
            </a:endParaRPr>
          </a:p>
        </p:txBody>
      </p:sp>
      <p:pic>
        <p:nvPicPr>
          <p:cNvPr id="75" name="Grafik 7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3888" y="195263"/>
            <a:ext cx="57785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6" name="VCT_Marker_ID_4" hidden="1"/>
          <p:cNvSpPr/>
          <p:nvPr userDrawn="1">
            <p:custDataLst>
              <p:tags r:id="rId3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78" name="Object 86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1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/>
          </p:nvPr>
        </p:nvSpPr>
        <p:spPr bwMode="gray">
          <a:xfrm>
            <a:off x="323410" y="915566"/>
            <a:ext cx="8496740" cy="28825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77" name="Picture 76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49" t="38459" r="28191" b="44228"/>
          <a:stretch/>
        </p:blipFill>
        <p:spPr>
          <a:xfrm>
            <a:off x="6339395" y="282314"/>
            <a:ext cx="1810353" cy="41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194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/>
          </p:nvPr>
        </p:nvSpPr>
        <p:spPr bwMode="gray">
          <a:xfrm>
            <a:off x="323410" y="915566"/>
            <a:ext cx="8496740" cy="28825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808368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14"/>
          <p:cNvGrpSpPr>
            <a:grpSpLocks/>
          </p:cNvGrpSpPr>
          <p:nvPr userDrawn="1"/>
        </p:nvGrpSpPr>
        <p:grpSpPr bwMode="auto">
          <a:xfrm>
            <a:off x="323850" y="-315913"/>
            <a:ext cx="8496300" cy="215900"/>
            <a:chOff x="323850" y="-531550"/>
            <a:chExt cx="8496740" cy="432060"/>
          </a:xfrm>
        </p:grpSpPr>
        <p:cxnSp>
          <p:nvCxnSpPr>
            <p:cNvPr id="4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Gerade Verbindung 1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1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1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2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2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2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2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2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2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27"/>
          <p:cNvGrpSpPr>
            <a:grpSpLocks/>
          </p:cNvGrpSpPr>
          <p:nvPr/>
        </p:nvGrpSpPr>
        <p:grpSpPr bwMode="auto">
          <a:xfrm>
            <a:off x="323850" y="5235575"/>
            <a:ext cx="8496300" cy="215900"/>
            <a:chOff x="323850" y="-531550"/>
            <a:chExt cx="8496740" cy="432060"/>
          </a:xfrm>
        </p:grpSpPr>
        <p:cxnSp>
          <p:nvCxnSpPr>
            <p:cNvPr id="17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2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3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3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3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3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3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3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uppieren 7"/>
          <p:cNvGrpSpPr>
            <a:grpSpLocks/>
          </p:cNvGrpSpPr>
          <p:nvPr userDrawn="1"/>
        </p:nvGrpSpPr>
        <p:grpSpPr bwMode="auto">
          <a:xfrm>
            <a:off x="9251950" y="195263"/>
            <a:ext cx="217488" cy="4752975"/>
            <a:chOff x="9252514" y="195486"/>
            <a:chExt cx="216166" cy="4752594"/>
          </a:xfrm>
        </p:grpSpPr>
        <p:cxnSp>
          <p:nvCxnSpPr>
            <p:cNvPr id="30" name="Gerade Verbindung 47"/>
            <p:cNvCxnSpPr/>
            <p:nvPr userDrawn="1"/>
          </p:nvCxnSpPr>
          <p:spPr bwMode="gray">
            <a:xfrm>
              <a:off x="9252514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48"/>
            <p:cNvCxnSpPr/>
            <p:nvPr userDrawn="1"/>
          </p:nvCxnSpPr>
          <p:spPr bwMode="gray">
            <a:xfrm>
              <a:off x="9252514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49"/>
            <p:cNvCxnSpPr/>
            <p:nvPr userDrawn="1"/>
          </p:nvCxnSpPr>
          <p:spPr bwMode="gray">
            <a:xfrm>
              <a:off x="9252514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50"/>
            <p:cNvCxnSpPr/>
            <p:nvPr userDrawn="1"/>
          </p:nvCxnSpPr>
          <p:spPr bwMode="gray">
            <a:xfrm>
              <a:off x="9252514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51"/>
            <p:cNvCxnSpPr/>
            <p:nvPr userDrawn="1"/>
          </p:nvCxnSpPr>
          <p:spPr bwMode="gray">
            <a:xfrm>
              <a:off x="9252514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52"/>
            <p:cNvCxnSpPr/>
            <p:nvPr userDrawn="1"/>
          </p:nvCxnSpPr>
          <p:spPr bwMode="gray">
            <a:xfrm>
              <a:off x="9252514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53"/>
            <p:cNvCxnSpPr/>
            <p:nvPr userDrawn="1"/>
          </p:nvCxnSpPr>
          <p:spPr bwMode="gray">
            <a:xfrm>
              <a:off x="9252514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54"/>
            <p:cNvCxnSpPr/>
            <p:nvPr userDrawn="1"/>
          </p:nvCxnSpPr>
          <p:spPr bwMode="gray">
            <a:xfrm>
              <a:off x="9252514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55"/>
            <p:cNvCxnSpPr/>
            <p:nvPr userDrawn="1"/>
          </p:nvCxnSpPr>
          <p:spPr bwMode="gray">
            <a:xfrm>
              <a:off x="9252514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56"/>
            <p:cNvCxnSpPr/>
            <p:nvPr userDrawn="1"/>
          </p:nvCxnSpPr>
          <p:spPr bwMode="gray">
            <a:xfrm>
              <a:off x="9252514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57"/>
            <p:cNvCxnSpPr/>
            <p:nvPr userDrawn="1"/>
          </p:nvCxnSpPr>
          <p:spPr bwMode="gray">
            <a:xfrm>
              <a:off x="9252514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58"/>
            <p:cNvCxnSpPr/>
            <p:nvPr userDrawn="1"/>
          </p:nvCxnSpPr>
          <p:spPr bwMode="gray">
            <a:xfrm>
              <a:off x="9252514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59"/>
            <p:cNvCxnSpPr/>
            <p:nvPr userDrawn="1"/>
          </p:nvCxnSpPr>
          <p:spPr bwMode="gray">
            <a:xfrm>
              <a:off x="9252514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1"/>
            <p:cNvCxnSpPr/>
            <p:nvPr userDrawn="1"/>
          </p:nvCxnSpPr>
          <p:spPr bwMode="gray">
            <a:xfrm>
              <a:off x="9252514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2"/>
            <p:cNvCxnSpPr/>
            <p:nvPr userDrawn="1"/>
          </p:nvCxnSpPr>
          <p:spPr bwMode="gray">
            <a:xfrm>
              <a:off x="9252514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5"/>
            <p:cNvCxnSpPr/>
            <p:nvPr userDrawn="1"/>
          </p:nvCxnSpPr>
          <p:spPr bwMode="gray">
            <a:xfrm>
              <a:off x="9252514" y="141935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uppieren 63"/>
          <p:cNvGrpSpPr>
            <a:grpSpLocks/>
          </p:cNvGrpSpPr>
          <p:nvPr/>
        </p:nvGrpSpPr>
        <p:grpSpPr bwMode="auto">
          <a:xfrm>
            <a:off x="-325438" y="195263"/>
            <a:ext cx="217488" cy="4752975"/>
            <a:chOff x="9252650" y="195486"/>
            <a:chExt cx="216166" cy="4752594"/>
          </a:xfrm>
        </p:grpSpPr>
        <p:cxnSp>
          <p:nvCxnSpPr>
            <p:cNvPr id="47" name="Gerade Verbindung 64"/>
            <p:cNvCxnSpPr/>
            <p:nvPr userDrawn="1"/>
          </p:nvCxnSpPr>
          <p:spPr bwMode="gray">
            <a:xfrm>
              <a:off x="9252650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66"/>
            <p:cNvCxnSpPr/>
            <p:nvPr userDrawn="1"/>
          </p:nvCxnSpPr>
          <p:spPr bwMode="gray">
            <a:xfrm>
              <a:off x="9252650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67"/>
            <p:cNvCxnSpPr/>
            <p:nvPr userDrawn="1"/>
          </p:nvCxnSpPr>
          <p:spPr bwMode="gray">
            <a:xfrm>
              <a:off x="9252650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68"/>
            <p:cNvCxnSpPr/>
            <p:nvPr userDrawn="1"/>
          </p:nvCxnSpPr>
          <p:spPr bwMode="gray">
            <a:xfrm>
              <a:off x="9252650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69"/>
            <p:cNvCxnSpPr/>
            <p:nvPr userDrawn="1"/>
          </p:nvCxnSpPr>
          <p:spPr bwMode="gray">
            <a:xfrm>
              <a:off x="9252650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70"/>
            <p:cNvCxnSpPr/>
            <p:nvPr userDrawn="1"/>
          </p:nvCxnSpPr>
          <p:spPr bwMode="gray">
            <a:xfrm>
              <a:off x="9252650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71"/>
            <p:cNvCxnSpPr/>
            <p:nvPr userDrawn="1"/>
          </p:nvCxnSpPr>
          <p:spPr bwMode="gray">
            <a:xfrm>
              <a:off x="9252650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72"/>
            <p:cNvCxnSpPr/>
            <p:nvPr userDrawn="1"/>
          </p:nvCxnSpPr>
          <p:spPr bwMode="gray">
            <a:xfrm>
              <a:off x="9252650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73"/>
            <p:cNvCxnSpPr/>
            <p:nvPr userDrawn="1"/>
          </p:nvCxnSpPr>
          <p:spPr bwMode="gray">
            <a:xfrm>
              <a:off x="9252650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74"/>
            <p:cNvCxnSpPr/>
            <p:nvPr userDrawn="1"/>
          </p:nvCxnSpPr>
          <p:spPr bwMode="gray">
            <a:xfrm>
              <a:off x="9252650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75"/>
            <p:cNvCxnSpPr/>
            <p:nvPr userDrawn="1"/>
          </p:nvCxnSpPr>
          <p:spPr bwMode="gray">
            <a:xfrm>
              <a:off x="9252650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76"/>
            <p:cNvCxnSpPr/>
            <p:nvPr userDrawn="1"/>
          </p:nvCxnSpPr>
          <p:spPr bwMode="gray">
            <a:xfrm>
              <a:off x="9252650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77"/>
            <p:cNvCxnSpPr/>
            <p:nvPr userDrawn="1"/>
          </p:nvCxnSpPr>
          <p:spPr bwMode="gray">
            <a:xfrm>
              <a:off x="9252650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80"/>
            <p:cNvCxnSpPr/>
            <p:nvPr userDrawn="1"/>
          </p:nvCxnSpPr>
          <p:spPr bwMode="gray">
            <a:xfrm>
              <a:off x="9252650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83"/>
            <p:cNvCxnSpPr/>
            <p:nvPr userDrawn="1"/>
          </p:nvCxnSpPr>
          <p:spPr bwMode="gray">
            <a:xfrm>
              <a:off x="9252650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84"/>
            <p:cNvCxnSpPr/>
            <p:nvPr userDrawn="1"/>
          </p:nvCxnSpPr>
          <p:spPr bwMode="gray">
            <a:xfrm>
              <a:off x="9252650" y="141300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Rechteck 65"/>
          <p:cNvSpPr>
            <a:spLocks noChangeArrowheads="1"/>
          </p:cNvSpPr>
          <p:nvPr/>
        </p:nvSpPr>
        <p:spPr bwMode="gray">
          <a:xfrm>
            <a:off x="7524750" y="4948238"/>
            <a:ext cx="1295400" cy="1444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DF305000-4E62-4FD2-8474-D00BA3209767}" type="slidenum">
              <a:rPr lang="en-US" altLang="uk-UA" sz="800" smtClean="0">
                <a:solidFill>
                  <a:schemeClr val="bg2"/>
                </a:solidFill>
              </a:rPr>
              <a:pPr algn="r" eaLnBrk="1" hangingPunct="1">
                <a:defRPr/>
              </a:pPr>
              <a:t>‹#›</a:t>
            </a:fld>
            <a:endParaRPr lang="en-US" altLang="uk-UA" sz="800" smtClean="0">
              <a:solidFill>
                <a:schemeClr val="bg2"/>
              </a:solidFill>
            </a:endParaRPr>
          </a:p>
        </p:txBody>
      </p:sp>
      <p:sp>
        <p:nvSpPr>
          <p:cNvPr id="64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0" tIns="0" rIns="0" bIns="0" anchor="ctr"/>
          <a:lstStyle/>
          <a:p>
            <a:pPr marL="0" lvl="8">
              <a:defRPr/>
            </a:pPr>
            <a:r>
              <a:rPr lang="en-US" sz="700" dirty="0">
                <a:solidFill>
                  <a:schemeClr val="bg2"/>
                </a:solidFill>
              </a:rPr>
              <a:t>© GfK </a:t>
            </a:r>
            <a:r>
              <a:rPr lang="ru-RU" sz="700" dirty="0">
                <a:solidFill>
                  <a:schemeClr val="bg2"/>
                </a:solidFill>
              </a:rPr>
              <a:t>27 Октября 2016 </a:t>
            </a:r>
            <a:r>
              <a:rPr lang="en-US" sz="700" dirty="0">
                <a:solidFill>
                  <a:schemeClr val="bg2"/>
                </a:solidFill>
              </a:rPr>
              <a:t>| </a:t>
            </a:r>
            <a:r>
              <a:rPr lang="ru-RU" sz="700" dirty="0">
                <a:solidFill>
                  <a:schemeClr val="bg2"/>
                </a:solidFill>
                <a:latin typeface="+mn-lt"/>
              </a:rPr>
              <a:t>Панельные исследования рынка розничных продаж </a:t>
            </a:r>
            <a:r>
              <a:rPr lang="ru-RU" sz="700" dirty="0" err="1">
                <a:solidFill>
                  <a:schemeClr val="bg2"/>
                </a:solidFill>
                <a:latin typeface="+mn-lt"/>
              </a:rPr>
              <a:t>БтиЭ</a:t>
            </a:r>
            <a:r>
              <a:rPr lang="ru-RU" sz="700" dirty="0">
                <a:solidFill>
                  <a:schemeClr val="bg2"/>
                </a:solidFill>
              </a:rPr>
              <a:t> </a:t>
            </a:r>
            <a:r>
              <a:rPr lang="en-US" sz="700" dirty="0">
                <a:solidFill>
                  <a:schemeClr val="bg2"/>
                </a:solidFill>
              </a:rPr>
              <a:t>| </a:t>
            </a:r>
            <a:r>
              <a:rPr lang="ru-RU" sz="700" dirty="0">
                <a:solidFill>
                  <a:schemeClr val="bg2"/>
                </a:solidFill>
              </a:rPr>
              <a:t>Осадчий А. </a:t>
            </a:r>
            <a:r>
              <a:rPr lang="en-US" sz="700" dirty="0">
                <a:solidFill>
                  <a:schemeClr val="bg2"/>
                </a:solidFill>
              </a:rPr>
              <a:t>|</a:t>
            </a:r>
            <a:r>
              <a:rPr lang="ru-RU" sz="700" dirty="0">
                <a:solidFill>
                  <a:schemeClr val="bg2"/>
                </a:solidFill>
              </a:rPr>
              <a:t> </a:t>
            </a:r>
            <a:r>
              <a:rPr lang="en-US" sz="700" dirty="0" err="1">
                <a:solidFill>
                  <a:schemeClr val="bg2"/>
                </a:solidFill>
              </a:rPr>
              <a:t>eCommerce</a:t>
            </a:r>
            <a:r>
              <a:rPr lang="en-US" sz="700" dirty="0">
                <a:solidFill>
                  <a:schemeClr val="bg2"/>
                </a:solidFill>
              </a:rPr>
              <a:t> 2016 </a:t>
            </a:r>
          </a:p>
        </p:txBody>
      </p:sp>
      <p:pic>
        <p:nvPicPr>
          <p:cNvPr id="65" name="Grafik 7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3888" y="195263"/>
            <a:ext cx="57785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" name="VCT_Marker_ID_4" hidden="1"/>
          <p:cNvSpPr/>
          <p:nvPr userDrawn="1">
            <p:custDataLst>
              <p:tags r:id="rId3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pic>
        <p:nvPicPr>
          <p:cNvPr id="67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9038" y="322263"/>
            <a:ext cx="17907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" name="Rectangle 15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9359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5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14"/>
          <p:cNvGrpSpPr>
            <a:grpSpLocks/>
          </p:cNvGrpSpPr>
          <p:nvPr userDrawn="1"/>
        </p:nvGrpSpPr>
        <p:grpSpPr bwMode="auto">
          <a:xfrm>
            <a:off x="323850" y="-315913"/>
            <a:ext cx="8496300" cy="215900"/>
            <a:chOff x="323850" y="-531550"/>
            <a:chExt cx="8496740" cy="432060"/>
          </a:xfrm>
        </p:grpSpPr>
        <p:cxnSp>
          <p:nvCxnSpPr>
            <p:cNvPr id="5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1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1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2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2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2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2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2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2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uppieren 27"/>
          <p:cNvGrpSpPr>
            <a:grpSpLocks/>
          </p:cNvGrpSpPr>
          <p:nvPr/>
        </p:nvGrpSpPr>
        <p:grpSpPr bwMode="auto">
          <a:xfrm>
            <a:off x="323850" y="5235575"/>
            <a:ext cx="8496300" cy="215900"/>
            <a:chOff x="323850" y="-531550"/>
            <a:chExt cx="8496740" cy="432060"/>
          </a:xfrm>
        </p:grpSpPr>
        <p:cxnSp>
          <p:nvCxnSpPr>
            <p:cNvPr id="18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3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3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3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3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3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ieren 7"/>
          <p:cNvGrpSpPr>
            <a:grpSpLocks/>
          </p:cNvGrpSpPr>
          <p:nvPr userDrawn="1"/>
        </p:nvGrpSpPr>
        <p:grpSpPr bwMode="auto">
          <a:xfrm>
            <a:off x="9251950" y="195263"/>
            <a:ext cx="217488" cy="4752975"/>
            <a:chOff x="9252514" y="195486"/>
            <a:chExt cx="216166" cy="4752594"/>
          </a:xfrm>
        </p:grpSpPr>
        <p:cxnSp>
          <p:nvCxnSpPr>
            <p:cNvPr id="31" name="Gerade Verbindung 47"/>
            <p:cNvCxnSpPr/>
            <p:nvPr userDrawn="1"/>
          </p:nvCxnSpPr>
          <p:spPr bwMode="gray">
            <a:xfrm>
              <a:off x="9252514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48"/>
            <p:cNvCxnSpPr/>
            <p:nvPr userDrawn="1"/>
          </p:nvCxnSpPr>
          <p:spPr bwMode="gray">
            <a:xfrm>
              <a:off x="9252514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49"/>
            <p:cNvCxnSpPr/>
            <p:nvPr userDrawn="1"/>
          </p:nvCxnSpPr>
          <p:spPr bwMode="gray">
            <a:xfrm>
              <a:off x="9252514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50"/>
            <p:cNvCxnSpPr/>
            <p:nvPr userDrawn="1"/>
          </p:nvCxnSpPr>
          <p:spPr bwMode="gray">
            <a:xfrm>
              <a:off x="9252514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51"/>
            <p:cNvCxnSpPr/>
            <p:nvPr userDrawn="1"/>
          </p:nvCxnSpPr>
          <p:spPr bwMode="gray">
            <a:xfrm>
              <a:off x="9252514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52"/>
            <p:cNvCxnSpPr/>
            <p:nvPr userDrawn="1"/>
          </p:nvCxnSpPr>
          <p:spPr bwMode="gray">
            <a:xfrm>
              <a:off x="9252514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53"/>
            <p:cNvCxnSpPr/>
            <p:nvPr userDrawn="1"/>
          </p:nvCxnSpPr>
          <p:spPr bwMode="gray">
            <a:xfrm>
              <a:off x="9252514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54"/>
            <p:cNvCxnSpPr/>
            <p:nvPr userDrawn="1"/>
          </p:nvCxnSpPr>
          <p:spPr bwMode="gray">
            <a:xfrm>
              <a:off x="9252514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55"/>
            <p:cNvCxnSpPr/>
            <p:nvPr userDrawn="1"/>
          </p:nvCxnSpPr>
          <p:spPr bwMode="gray">
            <a:xfrm>
              <a:off x="9252514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56"/>
            <p:cNvCxnSpPr/>
            <p:nvPr userDrawn="1"/>
          </p:nvCxnSpPr>
          <p:spPr bwMode="gray">
            <a:xfrm>
              <a:off x="9252514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57"/>
            <p:cNvCxnSpPr/>
            <p:nvPr userDrawn="1"/>
          </p:nvCxnSpPr>
          <p:spPr bwMode="gray">
            <a:xfrm>
              <a:off x="9252514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58"/>
            <p:cNvCxnSpPr/>
            <p:nvPr userDrawn="1"/>
          </p:nvCxnSpPr>
          <p:spPr bwMode="gray">
            <a:xfrm>
              <a:off x="9252514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59"/>
            <p:cNvCxnSpPr/>
            <p:nvPr userDrawn="1"/>
          </p:nvCxnSpPr>
          <p:spPr bwMode="gray">
            <a:xfrm>
              <a:off x="9252514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1"/>
            <p:cNvCxnSpPr/>
            <p:nvPr userDrawn="1"/>
          </p:nvCxnSpPr>
          <p:spPr bwMode="gray">
            <a:xfrm>
              <a:off x="9252514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2"/>
            <p:cNvCxnSpPr/>
            <p:nvPr userDrawn="1"/>
          </p:nvCxnSpPr>
          <p:spPr bwMode="gray">
            <a:xfrm>
              <a:off x="9252514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5"/>
            <p:cNvCxnSpPr/>
            <p:nvPr userDrawn="1"/>
          </p:nvCxnSpPr>
          <p:spPr bwMode="gray">
            <a:xfrm>
              <a:off x="9252514" y="141935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uppieren 63"/>
          <p:cNvGrpSpPr>
            <a:grpSpLocks/>
          </p:cNvGrpSpPr>
          <p:nvPr/>
        </p:nvGrpSpPr>
        <p:grpSpPr bwMode="auto">
          <a:xfrm>
            <a:off x="-325438" y="195263"/>
            <a:ext cx="217488" cy="4752975"/>
            <a:chOff x="9252650" y="195486"/>
            <a:chExt cx="216166" cy="4752594"/>
          </a:xfrm>
        </p:grpSpPr>
        <p:cxnSp>
          <p:nvCxnSpPr>
            <p:cNvPr id="48" name="Gerade Verbindung 64"/>
            <p:cNvCxnSpPr/>
            <p:nvPr userDrawn="1"/>
          </p:nvCxnSpPr>
          <p:spPr bwMode="gray">
            <a:xfrm>
              <a:off x="9252650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66"/>
            <p:cNvCxnSpPr/>
            <p:nvPr userDrawn="1"/>
          </p:nvCxnSpPr>
          <p:spPr bwMode="gray">
            <a:xfrm>
              <a:off x="9252650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67"/>
            <p:cNvCxnSpPr/>
            <p:nvPr userDrawn="1"/>
          </p:nvCxnSpPr>
          <p:spPr bwMode="gray">
            <a:xfrm>
              <a:off x="9252650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68"/>
            <p:cNvCxnSpPr/>
            <p:nvPr userDrawn="1"/>
          </p:nvCxnSpPr>
          <p:spPr bwMode="gray">
            <a:xfrm>
              <a:off x="9252650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69"/>
            <p:cNvCxnSpPr/>
            <p:nvPr userDrawn="1"/>
          </p:nvCxnSpPr>
          <p:spPr bwMode="gray">
            <a:xfrm>
              <a:off x="9252650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70"/>
            <p:cNvCxnSpPr/>
            <p:nvPr userDrawn="1"/>
          </p:nvCxnSpPr>
          <p:spPr bwMode="gray">
            <a:xfrm>
              <a:off x="9252650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71"/>
            <p:cNvCxnSpPr/>
            <p:nvPr userDrawn="1"/>
          </p:nvCxnSpPr>
          <p:spPr bwMode="gray">
            <a:xfrm>
              <a:off x="9252650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72"/>
            <p:cNvCxnSpPr/>
            <p:nvPr userDrawn="1"/>
          </p:nvCxnSpPr>
          <p:spPr bwMode="gray">
            <a:xfrm>
              <a:off x="9252650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73"/>
            <p:cNvCxnSpPr/>
            <p:nvPr userDrawn="1"/>
          </p:nvCxnSpPr>
          <p:spPr bwMode="gray">
            <a:xfrm>
              <a:off x="9252650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74"/>
            <p:cNvCxnSpPr/>
            <p:nvPr userDrawn="1"/>
          </p:nvCxnSpPr>
          <p:spPr bwMode="gray">
            <a:xfrm>
              <a:off x="9252650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75"/>
            <p:cNvCxnSpPr/>
            <p:nvPr userDrawn="1"/>
          </p:nvCxnSpPr>
          <p:spPr bwMode="gray">
            <a:xfrm>
              <a:off x="9252650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76"/>
            <p:cNvCxnSpPr/>
            <p:nvPr userDrawn="1"/>
          </p:nvCxnSpPr>
          <p:spPr bwMode="gray">
            <a:xfrm>
              <a:off x="9252650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77"/>
            <p:cNvCxnSpPr/>
            <p:nvPr userDrawn="1"/>
          </p:nvCxnSpPr>
          <p:spPr bwMode="gray">
            <a:xfrm>
              <a:off x="9252650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80"/>
            <p:cNvCxnSpPr/>
            <p:nvPr userDrawn="1"/>
          </p:nvCxnSpPr>
          <p:spPr bwMode="gray">
            <a:xfrm>
              <a:off x="9252650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83"/>
            <p:cNvCxnSpPr/>
            <p:nvPr userDrawn="1"/>
          </p:nvCxnSpPr>
          <p:spPr bwMode="gray">
            <a:xfrm>
              <a:off x="9252650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84"/>
            <p:cNvCxnSpPr/>
            <p:nvPr userDrawn="1"/>
          </p:nvCxnSpPr>
          <p:spPr bwMode="gray">
            <a:xfrm>
              <a:off x="9252650" y="141300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Rechteck 65"/>
          <p:cNvSpPr>
            <a:spLocks noChangeArrowheads="1"/>
          </p:cNvSpPr>
          <p:nvPr/>
        </p:nvSpPr>
        <p:spPr bwMode="gray">
          <a:xfrm>
            <a:off x="7524750" y="4948238"/>
            <a:ext cx="1295400" cy="1444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8D8879CC-EB6A-4F6F-83B2-8BEDC0D02DCF}" type="slidenum">
              <a:rPr lang="en-US" altLang="uk-UA" sz="800" smtClean="0">
                <a:solidFill>
                  <a:schemeClr val="bg2"/>
                </a:solidFill>
              </a:rPr>
              <a:pPr algn="r" eaLnBrk="1" hangingPunct="1">
                <a:defRPr/>
              </a:pPr>
              <a:t>‹#›</a:t>
            </a:fld>
            <a:endParaRPr lang="en-US" altLang="uk-UA" sz="800" smtClean="0">
              <a:solidFill>
                <a:schemeClr val="bg2"/>
              </a:solidFill>
            </a:endParaRPr>
          </a:p>
        </p:txBody>
      </p:sp>
      <p:sp>
        <p:nvSpPr>
          <p:cNvPr id="65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0" tIns="0" rIns="0" bIns="0" anchor="ctr"/>
          <a:lstStyle/>
          <a:p>
            <a:pPr marL="0" lvl="8">
              <a:defRPr/>
            </a:pPr>
            <a:r>
              <a:rPr lang="en-US" sz="700" dirty="0">
                <a:solidFill>
                  <a:schemeClr val="bg2"/>
                </a:solidFill>
              </a:rPr>
              <a:t>© GfK </a:t>
            </a:r>
            <a:r>
              <a:rPr lang="ru-RU" sz="700" dirty="0">
                <a:solidFill>
                  <a:schemeClr val="bg2"/>
                </a:solidFill>
              </a:rPr>
              <a:t>27 Октября 2016 </a:t>
            </a:r>
            <a:r>
              <a:rPr lang="en-US" sz="700" dirty="0">
                <a:solidFill>
                  <a:schemeClr val="bg2"/>
                </a:solidFill>
              </a:rPr>
              <a:t>| </a:t>
            </a:r>
            <a:r>
              <a:rPr lang="ru-RU" sz="700" dirty="0">
                <a:solidFill>
                  <a:schemeClr val="bg2"/>
                </a:solidFill>
                <a:latin typeface="+mn-lt"/>
              </a:rPr>
              <a:t>Панельные исследования рынка розничных продаж </a:t>
            </a:r>
            <a:r>
              <a:rPr lang="ru-RU" sz="700" dirty="0" err="1">
                <a:solidFill>
                  <a:schemeClr val="bg2"/>
                </a:solidFill>
                <a:latin typeface="+mn-lt"/>
              </a:rPr>
              <a:t>БтиЭ</a:t>
            </a:r>
            <a:r>
              <a:rPr lang="ru-RU" sz="700" dirty="0">
                <a:solidFill>
                  <a:schemeClr val="bg2"/>
                </a:solidFill>
              </a:rPr>
              <a:t> </a:t>
            </a:r>
            <a:r>
              <a:rPr lang="en-US" sz="700" dirty="0">
                <a:solidFill>
                  <a:schemeClr val="bg2"/>
                </a:solidFill>
              </a:rPr>
              <a:t>| </a:t>
            </a:r>
            <a:r>
              <a:rPr lang="ru-RU" sz="700" dirty="0">
                <a:solidFill>
                  <a:schemeClr val="bg2"/>
                </a:solidFill>
              </a:rPr>
              <a:t>Осадчий А. </a:t>
            </a:r>
            <a:r>
              <a:rPr lang="en-US" sz="700" dirty="0">
                <a:solidFill>
                  <a:schemeClr val="bg2"/>
                </a:solidFill>
              </a:rPr>
              <a:t>|</a:t>
            </a:r>
            <a:r>
              <a:rPr lang="ru-RU" sz="700" dirty="0">
                <a:solidFill>
                  <a:schemeClr val="bg2"/>
                </a:solidFill>
              </a:rPr>
              <a:t> </a:t>
            </a:r>
            <a:r>
              <a:rPr lang="en-US" sz="700" dirty="0" err="1">
                <a:solidFill>
                  <a:schemeClr val="bg2"/>
                </a:solidFill>
              </a:rPr>
              <a:t>eCommerce</a:t>
            </a:r>
            <a:r>
              <a:rPr lang="en-US" sz="700" dirty="0">
                <a:solidFill>
                  <a:schemeClr val="bg2"/>
                </a:solidFill>
              </a:rPr>
              <a:t> 2016 </a:t>
            </a:r>
          </a:p>
        </p:txBody>
      </p:sp>
      <p:pic>
        <p:nvPicPr>
          <p:cNvPr id="66" name="Grafik 7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3888" y="195263"/>
            <a:ext cx="57785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VCT_Marker_ID_4" hidden="1"/>
          <p:cNvSpPr/>
          <p:nvPr userDrawn="1">
            <p:custDataLst>
              <p:tags r:id="rId3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pic>
        <p:nvPicPr>
          <p:cNvPr id="68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9038" y="322263"/>
            <a:ext cx="17907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23850" y="915989"/>
            <a:ext cx="8496299" cy="2014226"/>
          </a:xfrm>
        </p:spPr>
        <p:txBody>
          <a:bodyPr tIns="18000" rtlCol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901974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7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14"/>
          <p:cNvGrpSpPr>
            <a:grpSpLocks/>
          </p:cNvGrpSpPr>
          <p:nvPr userDrawn="1"/>
        </p:nvGrpSpPr>
        <p:grpSpPr bwMode="auto">
          <a:xfrm>
            <a:off x="323850" y="-315913"/>
            <a:ext cx="8496300" cy="215900"/>
            <a:chOff x="323850" y="-531550"/>
            <a:chExt cx="8496740" cy="432060"/>
          </a:xfrm>
        </p:grpSpPr>
        <p:cxnSp>
          <p:nvCxnSpPr>
            <p:cNvPr id="5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1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1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2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2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2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2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2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2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uppieren 27"/>
          <p:cNvGrpSpPr>
            <a:grpSpLocks/>
          </p:cNvGrpSpPr>
          <p:nvPr/>
        </p:nvGrpSpPr>
        <p:grpSpPr bwMode="auto">
          <a:xfrm>
            <a:off x="323850" y="5235575"/>
            <a:ext cx="8496300" cy="215900"/>
            <a:chOff x="323850" y="-531550"/>
            <a:chExt cx="8496740" cy="432060"/>
          </a:xfrm>
        </p:grpSpPr>
        <p:cxnSp>
          <p:nvCxnSpPr>
            <p:cNvPr id="18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3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3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3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3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3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ieren 7"/>
          <p:cNvGrpSpPr>
            <a:grpSpLocks/>
          </p:cNvGrpSpPr>
          <p:nvPr userDrawn="1"/>
        </p:nvGrpSpPr>
        <p:grpSpPr bwMode="auto">
          <a:xfrm>
            <a:off x="9251950" y="195263"/>
            <a:ext cx="217488" cy="4752975"/>
            <a:chOff x="9252514" y="195486"/>
            <a:chExt cx="216166" cy="4752594"/>
          </a:xfrm>
        </p:grpSpPr>
        <p:cxnSp>
          <p:nvCxnSpPr>
            <p:cNvPr id="31" name="Gerade Verbindung 47"/>
            <p:cNvCxnSpPr/>
            <p:nvPr userDrawn="1"/>
          </p:nvCxnSpPr>
          <p:spPr bwMode="gray">
            <a:xfrm>
              <a:off x="9252514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48"/>
            <p:cNvCxnSpPr/>
            <p:nvPr userDrawn="1"/>
          </p:nvCxnSpPr>
          <p:spPr bwMode="gray">
            <a:xfrm>
              <a:off x="9252514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49"/>
            <p:cNvCxnSpPr/>
            <p:nvPr userDrawn="1"/>
          </p:nvCxnSpPr>
          <p:spPr bwMode="gray">
            <a:xfrm>
              <a:off x="9252514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50"/>
            <p:cNvCxnSpPr/>
            <p:nvPr userDrawn="1"/>
          </p:nvCxnSpPr>
          <p:spPr bwMode="gray">
            <a:xfrm>
              <a:off x="9252514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51"/>
            <p:cNvCxnSpPr/>
            <p:nvPr userDrawn="1"/>
          </p:nvCxnSpPr>
          <p:spPr bwMode="gray">
            <a:xfrm>
              <a:off x="9252514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52"/>
            <p:cNvCxnSpPr/>
            <p:nvPr userDrawn="1"/>
          </p:nvCxnSpPr>
          <p:spPr bwMode="gray">
            <a:xfrm>
              <a:off x="9252514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53"/>
            <p:cNvCxnSpPr/>
            <p:nvPr userDrawn="1"/>
          </p:nvCxnSpPr>
          <p:spPr bwMode="gray">
            <a:xfrm>
              <a:off x="9252514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54"/>
            <p:cNvCxnSpPr/>
            <p:nvPr userDrawn="1"/>
          </p:nvCxnSpPr>
          <p:spPr bwMode="gray">
            <a:xfrm>
              <a:off x="9252514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55"/>
            <p:cNvCxnSpPr/>
            <p:nvPr userDrawn="1"/>
          </p:nvCxnSpPr>
          <p:spPr bwMode="gray">
            <a:xfrm>
              <a:off x="9252514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56"/>
            <p:cNvCxnSpPr/>
            <p:nvPr userDrawn="1"/>
          </p:nvCxnSpPr>
          <p:spPr bwMode="gray">
            <a:xfrm>
              <a:off x="9252514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57"/>
            <p:cNvCxnSpPr/>
            <p:nvPr userDrawn="1"/>
          </p:nvCxnSpPr>
          <p:spPr bwMode="gray">
            <a:xfrm>
              <a:off x="9252514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58"/>
            <p:cNvCxnSpPr/>
            <p:nvPr userDrawn="1"/>
          </p:nvCxnSpPr>
          <p:spPr bwMode="gray">
            <a:xfrm>
              <a:off x="9252514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59"/>
            <p:cNvCxnSpPr/>
            <p:nvPr userDrawn="1"/>
          </p:nvCxnSpPr>
          <p:spPr bwMode="gray">
            <a:xfrm>
              <a:off x="9252514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1"/>
            <p:cNvCxnSpPr/>
            <p:nvPr userDrawn="1"/>
          </p:nvCxnSpPr>
          <p:spPr bwMode="gray">
            <a:xfrm>
              <a:off x="9252514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2"/>
            <p:cNvCxnSpPr/>
            <p:nvPr userDrawn="1"/>
          </p:nvCxnSpPr>
          <p:spPr bwMode="gray">
            <a:xfrm>
              <a:off x="9252514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5"/>
            <p:cNvCxnSpPr/>
            <p:nvPr userDrawn="1"/>
          </p:nvCxnSpPr>
          <p:spPr bwMode="gray">
            <a:xfrm>
              <a:off x="9252514" y="141935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uppieren 63"/>
          <p:cNvGrpSpPr>
            <a:grpSpLocks/>
          </p:cNvGrpSpPr>
          <p:nvPr/>
        </p:nvGrpSpPr>
        <p:grpSpPr bwMode="auto">
          <a:xfrm>
            <a:off x="-325438" y="195263"/>
            <a:ext cx="217488" cy="4752975"/>
            <a:chOff x="9252650" y="195486"/>
            <a:chExt cx="216166" cy="4752594"/>
          </a:xfrm>
        </p:grpSpPr>
        <p:cxnSp>
          <p:nvCxnSpPr>
            <p:cNvPr id="48" name="Gerade Verbindung 64"/>
            <p:cNvCxnSpPr/>
            <p:nvPr userDrawn="1"/>
          </p:nvCxnSpPr>
          <p:spPr bwMode="gray">
            <a:xfrm>
              <a:off x="9252650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66"/>
            <p:cNvCxnSpPr/>
            <p:nvPr userDrawn="1"/>
          </p:nvCxnSpPr>
          <p:spPr bwMode="gray">
            <a:xfrm>
              <a:off x="9252650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67"/>
            <p:cNvCxnSpPr/>
            <p:nvPr userDrawn="1"/>
          </p:nvCxnSpPr>
          <p:spPr bwMode="gray">
            <a:xfrm>
              <a:off x="9252650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68"/>
            <p:cNvCxnSpPr/>
            <p:nvPr userDrawn="1"/>
          </p:nvCxnSpPr>
          <p:spPr bwMode="gray">
            <a:xfrm>
              <a:off x="9252650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69"/>
            <p:cNvCxnSpPr/>
            <p:nvPr userDrawn="1"/>
          </p:nvCxnSpPr>
          <p:spPr bwMode="gray">
            <a:xfrm>
              <a:off x="9252650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70"/>
            <p:cNvCxnSpPr/>
            <p:nvPr userDrawn="1"/>
          </p:nvCxnSpPr>
          <p:spPr bwMode="gray">
            <a:xfrm>
              <a:off x="9252650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71"/>
            <p:cNvCxnSpPr/>
            <p:nvPr userDrawn="1"/>
          </p:nvCxnSpPr>
          <p:spPr bwMode="gray">
            <a:xfrm>
              <a:off x="9252650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72"/>
            <p:cNvCxnSpPr/>
            <p:nvPr userDrawn="1"/>
          </p:nvCxnSpPr>
          <p:spPr bwMode="gray">
            <a:xfrm>
              <a:off x="9252650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73"/>
            <p:cNvCxnSpPr/>
            <p:nvPr userDrawn="1"/>
          </p:nvCxnSpPr>
          <p:spPr bwMode="gray">
            <a:xfrm>
              <a:off x="9252650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74"/>
            <p:cNvCxnSpPr/>
            <p:nvPr userDrawn="1"/>
          </p:nvCxnSpPr>
          <p:spPr bwMode="gray">
            <a:xfrm>
              <a:off x="9252650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75"/>
            <p:cNvCxnSpPr/>
            <p:nvPr userDrawn="1"/>
          </p:nvCxnSpPr>
          <p:spPr bwMode="gray">
            <a:xfrm>
              <a:off x="9252650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76"/>
            <p:cNvCxnSpPr/>
            <p:nvPr userDrawn="1"/>
          </p:nvCxnSpPr>
          <p:spPr bwMode="gray">
            <a:xfrm>
              <a:off x="9252650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77"/>
            <p:cNvCxnSpPr/>
            <p:nvPr userDrawn="1"/>
          </p:nvCxnSpPr>
          <p:spPr bwMode="gray">
            <a:xfrm>
              <a:off x="9252650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80"/>
            <p:cNvCxnSpPr/>
            <p:nvPr userDrawn="1"/>
          </p:nvCxnSpPr>
          <p:spPr bwMode="gray">
            <a:xfrm>
              <a:off x="9252650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83"/>
            <p:cNvCxnSpPr/>
            <p:nvPr userDrawn="1"/>
          </p:nvCxnSpPr>
          <p:spPr bwMode="gray">
            <a:xfrm>
              <a:off x="9252650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84"/>
            <p:cNvCxnSpPr/>
            <p:nvPr userDrawn="1"/>
          </p:nvCxnSpPr>
          <p:spPr bwMode="gray">
            <a:xfrm>
              <a:off x="9252650" y="141300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Rechteck 65"/>
          <p:cNvSpPr>
            <a:spLocks noChangeArrowheads="1"/>
          </p:cNvSpPr>
          <p:nvPr/>
        </p:nvSpPr>
        <p:spPr bwMode="gray">
          <a:xfrm>
            <a:off x="7524750" y="4948238"/>
            <a:ext cx="1295400" cy="1444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6AFDCEC5-09BF-4626-A893-18CEAA619C92}" type="slidenum">
              <a:rPr lang="en-US" altLang="uk-UA" sz="800" smtClean="0">
                <a:solidFill>
                  <a:schemeClr val="bg2"/>
                </a:solidFill>
              </a:rPr>
              <a:pPr algn="r" eaLnBrk="1" hangingPunct="1">
                <a:defRPr/>
              </a:pPr>
              <a:t>‹#›</a:t>
            </a:fld>
            <a:endParaRPr lang="en-US" altLang="uk-UA" sz="800" smtClean="0">
              <a:solidFill>
                <a:schemeClr val="bg2"/>
              </a:solidFill>
            </a:endParaRPr>
          </a:p>
        </p:txBody>
      </p:sp>
      <p:sp>
        <p:nvSpPr>
          <p:cNvPr id="65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0" tIns="0" rIns="0" bIns="0" anchor="ctr"/>
          <a:lstStyle/>
          <a:p>
            <a:pPr marL="0" lvl="8">
              <a:defRPr/>
            </a:pPr>
            <a:r>
              <a:rPr lang="en-US" sz="700" dirty="0">
                <a:solidFill>
                  <a:schemeClr val="bg2"/>
                </a:solidFill>
              </a:rPr>
              <a:t>© GfK </a:t>
            </a:r>
            <a:r>
              <a:rPr lang="ru-RU" sz="700" dirty="0">
                <a:solidFill>
                  <a:schemeClr val="bg2"/>
                </a:solidFill>
              </a:rPr>
              <a:t>27 Октября 2016 </a:t>
            </a:r>
            <a:r>
              <a:rPr lang="en-US" sz="700" dirty="0">
                <a:solidFill>
                  <a:schemeClr val="bg2"/>
                </a:solidFill>
              </a:rPr>
              <a:t>| </a:t>
            </a:r>
            <a:r>
              <a:rPr lang="ru-RU" sz="700" dirty="0">
                <a:solidFill>
                  <a:schemeClr val="bg2"/>
                </a:solidFill>
                <a:latin typeface="+mn-lt"/>
              </a:rPr>
              <a:t>Панельные исследования рынка розничных продаж </a:t>
            </a:r>
            <a:r>
              <a:rPr lang="ru-RU" sz="700" dirty="0" err="1">
                <a:solidFill>
                  <a:schemeClr val="bg2"/>
                </a:solidFill>
                <a:latin typeface="+mn-lt"/>
              </a:rPr>
              <a:t>БтиЭ</a:t>
            </a:r>
            <a:r>
              <a:rPr lang="ru-RU" sz="700" dirty="0">
                <a:solidFill>
                  <a:schemeClr val="bg2"/>
                </a:solidFill>
              </a:rPr>
              <a:t> </a:t>
            </a:r>
            <a:r>
              <a:rPr lang="en-US" sz="700" dirty="0">
                <a:solidFill>
                  <a:schemeClr val="bg2"/>
                </a:solidFill>
              </a:rPr>
              <a:t>| </a:t>
            </a:r>
            <a:r>
              <a:rPr lang="ru-RU" sz="700" dirty="0">
                <a:solidFill>
                  <a:schemeClr val="bg2"/>
                </a:solidFill>
              </a:rPr>
              <a:t>Осадчий А. </a:t>
            </a:r>
            <a:r>
              <a:rPr lang="en-US" sz="700" dirty="0">
                <a:solidFill>
                  <a:schemeClr val="bg2"/>
                </a:solidFill>
              </a:rPr>
              <a:t>|</a:t>
            </a:r>
            <a:r>
              <a:rPr lang="ru-RU" sz="700" dirty="0">
                <a:solidFill>
                  <a:schemeClr val="bg2"/>
                </a:solidFill>
              </a:rPr>
              <a:t> </a:t>
            </a:r>
            <a:r>
              <a:rPr lang="en-US" sz="700" dirty="0" err="1">
                <a:solidFill>
                  <a:schemeClr val="bg2"/>
                </a:solidFill>
              </a:rPr>
              <a:t>eCommerce</a:t>
            </a:r>
            <a:r>
              <a:rPr lang="en-US" sz="700" dirty="0">
                <a:solidFill>
                  <a:schemeClr val="bg2"/>
                </a:solidFill>
              </a:rPr>
              <a:t> 2016 </a:t>
            </a:r>
          </a:p>
        </p:txBody>
      </p:sp>
      <p:pic>
        <p:nvPicPr>
          <p:cNvPr id="66" name="Grafik 7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3888" y="195263"/>
            <a:ext cx="57785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VCT_Marker_ID_4" hidden="1"/>
          <p:cNvSpPr/>
          <p:nvPr userDrawn="1">
            <p:custDataLst>
              <p:tags r:id="rId3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pic>
        <p:nvPicPr>
          <p:cNvPr id="68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9038" y="322263"/>
            <a:ext cx="17907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23851" y="915989"/>
            <a:ext cx="8496299" cy="2016126"/>
          </a:xfrm>
        </p:spPr>
        <p:txBody>
          <a:bodyPr tIns="18000" rtlCol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116092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14"/>
          <p:cNvGrpSpPr>
            <a:grpSpLocks/>
          </p:cNvGrpSpPr>
          <p:nvPr userDrawn="1"/>
        </p:nvGrpSpPr>
        <p:grpSpPr bwMode="auto">
          <a:xfrm>
            <a:off x="323850" y="-315913"/>
            <a:ext cx="8496300" cy="215900"/>
            <a:chOff x="323850" y="-531550"/>
            <a:chExt cx="8496740" cy="432060"/>
          </a:xfrm>
        </p:grpSpPr>
        <p:cxnSp>
          <p:nvCxnSpPr>
            <p:cNvPr id="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1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2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2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2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2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2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2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27"/>
          <p:cNvGrpSpPr>
            <a:grpSpLocks/>
          </p:cNvGrpSpPr>
          <p:nvPr/>
        </p:nvGrpSpPr>
        <p:grpSpPr bwMode="auto">
          <a:xfrm>
            <a:off x="323850" y="5235575"/>
            <a:ext cx="8496300" cy="215900"/>
            <a:chOff x="323850" y="-531550"/>
            <a:chExt cx="8496740" cy="432060"/>
          </a:xfrm>
        </p:grpSpPr>
        <p:cxnSp>
          <p:nvCxnSpPr>
            <p:cNvPr id="1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3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3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3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3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uppieren 7"/>
          <p:cNvGrpSpPr>
            <a:grpSpLocks/>
          </p:cNvGrpSpPr>
          <p:nvPr userDrawn="1"/>
        </p:nvGrpSpPr>
        <p:grpSpPr bwMode="auto">
          <a:xfrm>
            <a:off x="9251950" y="195263"/>
            <a:ext cx="217488" cy="4752975"/>
            <a:chOff x="9252514" y="195486"/>
            <a:chExt cx="216166" cy="4752594"/>
          </a:xfrm>
        </p:grpSpPr>
        <p:cxnSp>
          <p:nvCxnSpPr>
            <p:cNvPr id="32" name="Gerade Verbindung 47"/>
            <p:cNvCxnSpPr/>
            <p:nvPr userDrawn="1"/>
          </p:nvCxnSpPr>
          <p:spPr bwMode="gray">
            <a:xfrm>
              <a:off x="9252514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48"/>
            <p:cNvCxnSpPr/>
            <p:nvPr userDrawn="1"/>
          </p:nvCxnSpPr>
          <p:spPr bwMode="gray">
            <a:xfrm>
              <a:off x="9252514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49"/>
            <p:cNvCxnSpPr/>
            <p:nvPr userDrawn="1"/>
          </p:nvCxnSpPr>
          <p:spPr bwMode="gray">
            <a:xfrm>
              <a:off x="9252514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50"/>
            <p:cNvCxnSpPr/>
            <p:nvPr userDrawn="1"/>
          </p:nvCxnSpPr>
          <p:spPr bwMode="gray">
            <a:xfrm>
              <a:off x="9252514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51"/>
            <p:cNvCxnSpPr/>
            <p:nvPr userDrawn="1"/>
          </p:nvCxnSpPr>
          <p:spPr bwMode="gray">
            <a:xfrm>
              <a:off x="9252514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52"/>
            <p:cNvCxnSpPr/>
            <p:nvPr userDrawn="1"/>
          </p:nvCxnSpPr>
          <p:spPr bwMode="gray">
            <a:xfrm>
              <a:off x="9252514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53"/>
            <p:cNvCxnSpPr/>
            <p:nvPr userDrawn="1"/>
          </p:nvCxnSpPr>
          <p:spPr bwMode="gray">
            <a:xfrm>
              <a:off x="9252514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54"/>
            <p:cNvCxnSpPr/>
            <p:nvPr userDrawn="1"/>
          </p:nvCxnSpPr>
          <p:spPr bwMode="gray">
            <a:xfrm>
              <a:off x="9252514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55"/>
            <p:cNvCxnSpPr/>
            <p:nvPr userDrawn="1"/>
          </p:nvCxnSpPr>
          <p:spPr bwMode="gray">
            <a:xfrm>
              <a:off x="9252514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56"/>
            <p:cNvCxnSpPr/>
            <p:nvPr userDrawn="1"/>
          </p:nvCxnSpPr>
          <p:spPr bwMode="gray">
            <a:xfrm>
              <a:off x="9252514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57"/>
            <p:cNvCxnSpPr/>
            <p:nvPr userDrawn="1"/>
          </p:nvCxnSpPr>
          <p:spPr bwMode="gray">
            <a:xfrm>
              <a:off x="9252514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58"/>
            <p:cNvCxnSpPr/>
            <p:nvPr userDrawn="1"/>
          </p:nvCxnSpPr>
          <p:spPr bwMode="gray">
            <a:xfrm>
              <a:off x="9252514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59"/>
            <p:cNvCxnSpPr/>
            <p:nvPr userDrawn="1"/>
          </p:nvCxnSpPr>
          <p:spPr bwMode="gray">
            <a:xfrm>
              <a:off x="9252514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1"/>
            <p:cNvCxnSpPr/>
            <p:nvPr userDrawn="1"/>
          </p:nvCxnSpPr>
          <p:spPr bwMode="gray">
            <a:xfrm>
              <a:off x="9252514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2"/>
            <p:cNvCxnSpPr/>
            <p:nvPr userDrawn="1"/>
          </p:nvCxnSpPr>
          <p:spPr bwMode="gray">
            <a:xfrm>
              <a:off x="9252514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85"/>
            <p:cNvCxnSpPr/>
            <p:nvPr userDrawn="1"/>
          </p:nvCxnSpPr>
          <p:spPr bwMode="gray">
            <a:xfrm>
              <a:off x="9252514" y="141935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uppieren 63"/>
          <p:cNvGrpSpPr>
            <a:grpSpLocks/>
          </p:cNvGrpSpPr>
          <p:nvPr/>
        </p:nvGrpSpPr>
        <p:grpSpPr bwMode="auto">
          <a:xfrm>
            <a:off x="-325438" y="195263"/>
            <a:ext cx="217488" cy="4752975"/>
            <a:chOff x="9252650" y="195486"/>
            <a:chExt cx="216166" cy="4752594"/>
          </a:xfrm>
        </p:grpSpPr>
        <p:cxnSp>
          <p:nvCxnSpPr>
            <p:cNvPr id="49" name="Gerade Verbindung 64"/>
            <p:cNvCxnSpPr/>
            <p:nvPr userDrawn="1"/>
          </p:nvCxnSpPr>
          <p:spPr bwMode="gray">
            <a:xfrm>
              <a:off x="9252650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66"/>
            <p:cNvCxnSpPr/>
            <p:nvPr userDrawn="1"/>
          </p:nvCxnSpPr>
          <p:spPr bwMode="gray">
            <a:xfrm>
              <a:off x="9252650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67"/>
            <p:cNvCxnSpPr/>
            <p:nvPr userDrawn="1"/>
          </p:nvCxnSpPr>
          <p:spPr bwMode="gray">
            <a:xfrm>
              <a:off x="9252650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68"/>
            <p:cNvCxnSpPr/>
            <p:nvPr userDrawn="1"/>
          </p:nvCxnSpPr>
          <p:spPr bwMode="gray">
            <a:xfrm>
              <a:off x="9252650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69"/>
            <p:cNvCxnSpPr/>
            <p:nvPr userDrawn="1"/>
          </p:nvCxnSpPr>
          <p:spPr bwMode="gray">
            <a:xfrm>
              <a:off x="9252650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70"/>
            <p:cNvCxnSpPr/>
            <p:nvPr userDrawn="1"/>
          </p:nvCxnSpPr>
          <p:spPr bwMode="gray">
            <a:xfrm>
              <a:off x="9252650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71"/>
            <p:cNvCxnSpPr/>
            <p:nvPr userDrawn="1"/>
          </p:nvCxnSpPr>
          <p:spPr bwMode="gray">
            <a:xfrm>
              <a:off x="9252650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72"/>
            <p:cNvCxnSpPr/>
            <p:nvPr userDrawn="1"/>
          </p:nvCxnSpPr>
          <p:spPr bwMode="gray">
            <a:xfrm>
              <a:off x="9252650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73"/>
            <p:cNvCxnSpPr/>
            <p:nvPr userDrawn="1"/>
          </p:nvCxnSpPr>
          <p:spPr bwMode="gray">
            <a:xfrm>
              <a:off x="9252650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74"/>
            <p:cNvCxnSpPr/>
            <p:nvPr userDrawn="1"/>
          </p:nvCxnSpPr>
          <p:spPr bwMode="gray">
            <a:xfrm>
              <a:off x="9252650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75"/>
            <p:cNvCxnSpPr/>
            <p:nvPr userDrawn="1"/>
          </p:nvCxnSpPr>
          <p:spPr bwMode="gray">
            <a:xfrm>
              <a:off x="9252650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76"/>
            <p:cNvCxnSpPr/>
            <p:nvPr userDrawn="1"/>
          </p:nvCxnSpPr>
          <p:spPr bwMode="gray">
            <a:xfrm>
              <a:off x="9252650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77"/>
            <p:cNvCxnSpPr/>
            <p:nvPr userDrawn="1"/>
          </p:nvCxnSpPr>
          <p:spPr bwMode="gray">
            <a:xfrm>
              <a:off x="9252650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80"/>
            <p:cNvCxnSpPr/>
            <p:nvPr userDrawn="1"/>
          </p:nvCxnSpPr>
          <p:spPr bwMode="gray">
            <a:xfrm>
              <a:off x="9252650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83"/>
            <p:cNvCxnSpPr/>
            <p:nvPr userDrawn="1"/>
          </p:nvCxnSpPr>
          <p:spPr bwMode="gray">
            <a:xfrm>
              <a:off x="9252650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84"/>
            <p:cNvCxnSpPr/>
            <p:nvPr userDrawn="1"/>
          </p:nvCxnSpPr>
          <p:spPr bwMode="gray">
            <a:xfrm>
              <a:off x="9252650" y="141300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Rechteck 65"/>
          <p:cNvSpPr>
            <a:spLocks noChangeArrowheads="1"/>
          </p:cNvSpPr>
          <p:nvPr/>
        </p:nvSpPr>
        <p:spPr bwMode="gray">
          <a:xfrm>
            <a:off x="7524750" y="4948238"/>
            <a:ext cx="1295400" cy="1444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83CC5606-15AE-4829-B36A-F48F8DE1FDDF}" type="slidenum">
              <a:rPr lang="en-US" altLang="uk-UA" sz="800" smtClean="0">
                <a:solidFill>
                  <a:schemeClr val="bg2"/>
                </a:solidFill>
              </a:rPr>
              <a:pPr algn="r" eaLnBrk="1" hangingPunct="1">
                <a:defRPr/>
              </a:pPr>
              <a:t>‹#›</a:t>
            </a:fld>
            <a:endParaRPr lang="en-US" altLang="uk-UA" sz="800" smtClean="0">
              <a:solidFill>
                <a:schemeClr val="bg2"/>
              </a:solidFill>
            </a:endParaRPr>
          </a:p>
        </p:txBody>
      </p:sp>
      <p:sp>
        <p:nvSpPr>
          <p:cNvPr id="66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0" tIns="0" rIns="0" bIns="0" anchor="ctr"/>
          <a:lstStyle/>
          <a:p>
            <a:pPr marL="0" lvl="8">
              <a:defRPr/>
            </a:pPr>
            <a:r>
              <a:rPr lang="en-US" sz="700" dirty="0">
                <a:solidFill>
                  <a:schemeClr val="bg2"/>
                </a:solidFill>
              </a:rPr>
              <a:t>© GfK </a:t>
            </a:r>
            <a:r>
              <a:rPr lang="ru-RU" sz="700" dirty="0">
                <a:solidFill>
                  <a:schemeClr val="bg2"/>
                </a:solidFill>
              </a:rPr>
              <a:t>27 Октября 2016 </a:t>
            </a:r>
            <a:r>
              <a:rPr lang="en-US" sz="700" dirty="0">
                <a:solidFill>
                  <a:schemeClr val="bg2"/>
                </a:solidFill>
              </a:rPr>
              <a:t>| </a:t>
            </a:r>
            <a:r>
              <a:rPr lang="ru-RU" sz="700" dirty="0">
                <a:solidFill>
                  <a:schemeClr val="bg2"/>
                </a:solidFill>
                <a:latin typeface="+mn-lt"/>
              </a:rPr>
              <a:t>Панельные исследования рынка розничных продаж </a:t>
            </a:r>
            <a:r>
              <a:rPr lang="ru-RU" sz="700" dirty="0" err="1">
                <a:solidFill>
                  <a:schemeClr val="bg2"/>
                </a:solidFill>
                <a:latin typeface="+mn-lt"/>
              </a:rPr>
              <a:t>БтиЭ</a:t>
            </a:r>
            <a:r>
              <a:rPr lang="ru-RU" sz="700" dirty="0">
                <a:solidFill>
                  <a:schemeClr val="bg2"/>
                </a:solidFill>
              </a:rPr>
              <a:t> </a:t>
            </a:r>
            <a:r>
              <a:rPr lang="en-US" sz="700" dirty="0">
                <a:solidFill>
                  <a:schemeClr val="bg2"/>
                </a:solidFill>
              </a:rPr>
              <a:t>| </a:t>
            </a:r>
            <a:r>
              <a:rPr lang="ru-RU" sz="700" dirty="0">
                <a:solidFill>
                  <a:schemeClr val="bg2"/>
                </a:solidFill>
              </a:rPr>
              <a:t>Осадчий А. </a:t>
            </a:r>
            <a:r>
              <a:rPr lang="en-US" sz="700" dirty="0">
                <a:solidFill>
                  <a:schemeClr val="bg2"/>
                </a:solidFill>
              </a:rPr>
              <a:t>|</a:t>
            </a:r>
            <a:r>
              <a:rPr lang="ru-RU" sz="700" dirty="0">
                <a:solidFill>
                  <a:schemeClr val="bg2"/>
                </a:solidFill>
              </a:rPr>
              <a:t> </a:t>
            </a:r>
            <a:r>
              <a:rPr lang="en-US" sz="700" dirty="0" err="1">
                <a:solidFill>
                  <a:schemeClr val="bg2"/>
                </a:solidFill>
              </a:rPr>
              <a:t>eCommerce</a:t>
            </a:r>
            <a:r>
              <a:rPr lang="en-US" sz="700" dirty="0">
                <a:solidFill>
                  <a:schemeClr val="bg2"/>
                </a:solidFill>
              </a:rPr>
              <a:t> 2016 </a:t>
            </a:r>
          </a:p>
        </p:txBody>
      </p:sp>
      <p:pic>
        <p:nvPicPr>
          <p:cNvPr id="67" name="Grafik 7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3888" y="195263"/>
            <a:ext cx="57785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" name="VCT_Marker_ID_4" hidden="1"/>
          <p:cNvSpPr/>
          <p:nvPr userDrawn="1">
            <p:custDataLst>
              <p:tags r:id="rId3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pic>
        <p:nvPicPr>
          <p:cNvPr id="69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9038" y="322263"/>
            <a:ext cx="17907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8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323851" y="915988"/>
            <a:ext cx="8496300" cy="2016125"/>
          </a:xfrm>
        </p:spPr>
        <p:txBody>
          <a:bodyPr tIns="18000" rtlCol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58806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/>
          </p:nvPr>
        </p:nvSpPr>
        <p:spPr bwMode="gray">
          <a:xfrm>
            <a:off x="323850" y="915566"/>
            <a:ext cx="8496300" cy="28825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/>
          </p:nvPr>
        </p:nvSpPr>
        <p:spPr bwMode="gray">
          <a:xfrm>
            <a:off x="1763688" y="1852681"/>
            <a:ext cx="2736304" cy="432000"/>
          </a:xfrm>
        </p:spPr>
        <p:txBody>
          <a:bodyPr tIns="3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/>
          </p:nvPr>
        </p:nvSpPr>
        <p:spPr bwMode="gray">
          <a:xfrm>
            <a:off x="6084888" y="1852681"/>
            <a:ext cx="2736304" cy="432000"/>
          </a:xfrm>
        </p:spPr>
        <p:txBody>
          <a:bodyPr tIns="3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6152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/>
          </p:nvPr>
        </p:nvSpPr>
        <p:spPr bwMode="gray">
          <a:xfrm>
            <a:off x="1763688" y="3651931"/>
            <a:ext cx="2736304" cy="432000"/>
          </a:xfrm>
        </p:spPr>
        <p:txBody>
          <a:bodyPr tIns="3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/>
          </p:nvPr>
        </p:nvSpPr>
        <p:spPr bwMode="gray">
          <a:xfrm>
            <a:off x="6084888" y="3651931"/>
            <a:ext cx="2736304" cy="432000"/>
          </a:xfrm>
        </p:spPr>
        <p:txBody>
          <a:bodyPr tIns="3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/>
          </p:nvPr>
        </p:nvSpPr>
        <p:spPr bwMode="gray">
          <a:xfrm>
            <a:off x="1763688" y="1852681"/>
            <a:ext cx="2736304" cy="432000"/>
          </a:xfrm>
        </p:spPr>
        <p:txBody>
          <a:bodyPr tIns="3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/>
          </p:nvPr>
        </p:nvSpPr>
        <p:spPr bwMode="gray">
          <a:xfrm>
            <a:off x="6084888" y="1852681"/>
            <a:ext cx="2736304" cy="432000"/>
          </a:xfrm>
        </p:spPr>
        <p:txBody>
          <a:bodyPr tIns="3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/>
          </p:nvPr>
        </p:nvSpPr>
        <p:spPr bwMode="gray">
          <a:xfrm>
            <a:off x="323850" y="915566"/>
            <a:ext cx="8496300" cy="28825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2483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2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14"/>
          <p:cNvGrpSpPr>
            <a:grpSpLocks/>
          </p:cNvGrpSpPr>
          <p:nvPr userDrawn="1"/>
        </p:nvGrpSpPr>
        <p:grpSpPr bwMode="auto">
          <a:xfrm>
            <a:off x="323850" y="-315913"/>
            <a:ext cx="8496300" cy="215900"/>
            <a:chOff x="323850" y="-531550"/>
            <a:chExt cx="8496740" cy="432060"/>
          </a:xfrm>
        </p:grpSpPr>
        <p:cxnSp>
          <p:nvCxnSpPr>
            <p:cNvPr id="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1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2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2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2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2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2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2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uppieren 27"/>
          <p:cNvGrpSpPr>
            <a:grpSpLocks/>
          </p:cNvGrpSpPr>
          <p:nvPr/>
        </p:nvGrpSpPr>
        <p:grpSpPr bwMode="auto">
          <a:xfrm>
            <a:off x="323850" y="5235575"/>
            <a:ext cx="8496300" cy="215900"/>
            <a:chOff x="323850" y="-531550"/>
            <a:chExt cx="8496740" cy="432060"/>
          </a:xfrm>
        </p:grpSpPr>
        <p:cxnSp>
          <p:nvCxnSpPr>
            <p:cNvPr id="20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3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3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3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uppieren 7"/>
          <p:cNvGrpSpPr>
            <a:grpSpLocks/>
          </p:cNvGrpSpPr>
          <p:nvPr userDrawn="1"/>
        </p:nvGrpSpPr>
        <p:grpSpPr bwMode="auto">
          <a:xfrm>
            <a:off x="9251950" y="195263"/>
            <a:ext cx="217488" cy="4752975"/>
            <a:chOff x="9252514" y="195486"/>
            <a:chExt cx="216166" cy="4752594"/>
          </a:xfrm>
        </p:grpSpPr>
        <p:cxnSp>
          <p:nvCxnSpPr>
            <p:cNvPr id="33" name="Gerade Verbindung 47"/>
            <p:cNvCxnSpPr/>
            <p:nvPr userDrawn="1"/>
          </p:nvCxnSpPr>
          <p:spPr bwMode="gray">
            <a:xfrm>
              <a:off x="9252514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48"/>
            <p:cNvCxnSpPr/>
            <p:nvPr userDrawn="1"/>
          </p:nvCxnSpPr>
          <p:spPr bwMode="gray">
            <a:xfrm>
              <a:off x="9252514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49"/>
            <p:cNvCxnSpPr/>
            <p:nvPr userDrawn="1"/>
          </p:nvCxnSpPr>
          <p:spPr bwMode="gray">
            <a:xfrm>
              <a:off x="9252514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50"/>
            <p:cNvCxnSpPr/>
            <p:nvPr userDrawn="1"/>
          </p:nvCxnSpPr>
          <p:spPr bwMode="gray">
            <a:xfrm>
              <a:off x="9252514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51"/>
            <p:cNvCxnSpPr/>
            <p:nvPr userDrawn="1"/>
          </p:nvCxnSpPr>
          <p:spPr bwMode="gray">
            <a:xfrm>
              <a:off x="9252514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52"/>
            <p:cNvCxnSpPr/>
            <p:nvPr userDrawn="1"/>
          </p:nvCxnSpPr>
          <p:spPr bwMode="gray">
            <a:xfrm>
              <a:off x="9252514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53"/>
            <p:cNvCxnSpPr/>
            <p:nvPr userDrawn="1"/>
          </p:nvCxnSpPr>
          <p:spPr bwMode="gray">
            <a:xfrm>
              <a:off x="9252514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54"/>
            <p:cNvCxnSpPr/>
            <p:nvPr userDrawn="1"/>
          </p:nvCxnSpPr>
          <p:spPr bwMode="gray">
            <a:xfrm>
              <a:off x="9252514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55"/>
            <p:cNvCxnSpPr/>
            <p:nvPr userDrawn="1"/>
          </p:nvCxnSpPr>
          <p:spPr bwMode="gray">
            <a:xfrm>
              <a:off x="9252514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56"/>
            <p:cNvCxnSpPr/>
            <p:nvPr userDrawn="1"/>
          </p:nvCxnSpPr>
          <p:spPr bwMode="gray">
            <a:xfrm>
              <a:off x="9252514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57"/>
            <p:cNvCxnSpPr/>
            <p:nvPr userDrawn="1"/>
          </p:nvCxnSpPr>
          <p:spPr bwMode="gray">
            <a:xfrm>
              <a:off x="9252514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58"/>
            <p:cNvCxnSpPr/>
            <p:nvPr userDrawn="1"/>
          </p:nvCxnSpPr>
          <p:spPr bwMode="gray">
            <a:xfrm>
              <a:off x="9252514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59"/>
            <p:cNvCxnSpPr/>
            <p:nvPr userDrawn="1"/>
          </p:nvCxnSpPr>
          <p:spPr bwMode="gray">
            <a:xfrm>
              <a:off x="9252514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1"/>
            <p:cNvCxnSpPr/>
            <p:nvPr userDrawn="1"/>
          </p:nvCxnSpPr>
          <p:spPr bwMode="gray">
            <a:xfrm>
              <a:off x="9252514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82"/>
            <p:cNvCxnSpPr/>
            <p:nvPr userDrawn="1"/>
          </p:nvCxnSpPr>
          <p:spPr bwMode="gray">
            <a:xfrm>
              <a:off x="9252514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85"/>
            <p:cNvCxnSpPr/>
            <p:nvPr userDrawn="1"/>
          </p:nvCxnSpPr>
          <p:spPr bwMode="gray">
            <a:xfrm>
              <a:off x="9252514" y="141935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en 63"/>
          <p:cNvGrpSpPr>
            <a:grpSpLocks/>
          </p:cNvGrpSpPr>
          <p:nvPr/>
        </p:nvGrpSpPr>
        <p:grpSpPr bwMode="auto">
          <a:xfrm>
            <a:off x="-325438" y="195263"/>
            <a:ext cx="217488" cy="4752975"/>
            <a:chOff x="9252650" y="195486"/>
            <a:chExt cx="216166" cy="4752594"/>
          </a:xfrm>
        </p:grpSpPr>
        <p:cxnSp>
          <p:nvCxnSpPr>
            <p:cNvPr id="50" name="Gerade Verbindung 64"/>
            <p:cNvCxnSpPr/>
            <p:nvPr userDrawn="1"/>
          </p:nvCxnSpPr>
          <p:spPr bwMode="gray">
            <a:xfrm>
              <a:off x="9252650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66"/>
            <p:cNvCxnSpPr/>
            <p:nvPr userDrawn="1"/>
          </p:nvCxnSpPr>
          <p:spPr bwMode="gray">
            <a:xfrm>
              <a:off x="9252650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67"/>
            <p:cNvCxnSpPr/>
            <p:nvPr userDrawn="1"/>
          </p:nvCxnSpPr>
          <p:spPr bwMode="gray">
            <a:xfrm>
              <a:off x="9252650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68"/>
            <p:cNvCxnSpPr/>
            <p:nvPr userDrawn="1"/>
          </p:nvCxnSpPr>
          <p:spPr bwMode="gray">
            <a:xfrm>
              <a:off x="9252650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69"/>
            <p:cNvCxnSpPr/>
            <p:nvPr userDrawn="1"/>
          </p:nvCxnSpPr>
          <p:spPr bwMode="gray">
            <a:xfrm>
              <a:off x="9252650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70"/>
            <p:cNvCxnSpPr/>
            <p:nvPr userDrawn="1"/>
          </p:nvCxnSpPr>
          <p:spPr bwMode="gray">
            <a:xfrm>
              <a:off x="9252650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71"/>
            <p:cNvCxnSpPr/>
            <p:nvPr userDrawn="1"/>
          </p:nvCxnSpPr>
          <p:spPr bwMode="gray">
            <a:xfrm>
              <a:off x="9252650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72"/>
            <p:cNvCxnSpPr/>
            <p:nvPr userDrawn="1"/>
          </p:nvCxnSpPr>
          <p:spPr bwMode="gray">
            <a:xfrm>
              <a:off x="9252650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73"/>
            <p:cNvCxnSpPr/>
            <p:nvPr userDrawn="1"/>
          </p:nvCxnSpPr>
          <p:spPr bwMode="gray">
            <a:xfrm>
              <a:off x="9252650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74"/>
            <p:cNvCxnSpPr/>
            <p:nvPr userDrawn="1"/>
          </p:nvCxnSpPr>
          <p:spPr bwMode="gray">
            <a:xfrm>
              <a:off x="9252650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75"/>
            <p:cNvCxnSpPr/>
            <p:nvPr userDrawn="1"/>
          </p:nvCxnSpPr>
          <p:spPr bwMode="gray">
            <a:xfrm>
              <a:off x="9252650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76"/>
            <p:cNvCxnSpPr/>
            <p:nvPr userDrawn="1"/>
          </p:nvCxnSpPr>
          <p:spPr bwMode="gray">
            <a:xfrm>
              <a:off x="9252650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77"/>
            <p:cNvCxnSpPr/>
            <p:nvPr userDrawn="1"/>
          </p:nvCxnSpPr>
          <p:spPr bwMode="gray">
            <a:xfrm>
              <a:off x="9252650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80"/>
            <p:cNvCxnSpPr/>
            <p:nvPr userDrawn="1"/>
          </p:nvCxnSpPr>
          <p:spPr bwMode="gray">
            <a:xfrm>
              <a:off x="9252650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83"/>
            <p:cNvCxnSpPr/>
            <p:nvPr userDrawn="1"/>
          </p:nvCxnSpPr>
          <p:spPr bwMode="gray">
            <a:xfrm>
              <a:off x="9252650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84"/>
            <p:cNvCxnSpPr/>
            <p:nvPr userDrawn="1"/>
          </p:nvCxnSpPr>
          <p:spPr bwMode="gray">
            <a:xfrm>
              <a:off x="9252650" y="141300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>
            <a:spLocks noChangeArrowheads="1"/>
          </p:cNvSpPr>
          <p:nvPr/>
        </p:nvSpPr>
        <p:spPr bwMode="gray">
          <a:xfrm>
            <a:off x="7524750" y="4948238"/>
            <a:ext cx="1295400" cy="1444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F9BA6E8A-E91E-4962-AC47-4B5B2BC9E1D6}" type="slidenum">
              <a:rPr lang="en-US" altLang="uk-UA" sz="800" smtClean="0">
                <a:solidFill>
                  <a:schemeClr val="bg2"/>
                </a:solidFill>
              </a:rPr>
              <a:pPr algn="r" eaLnBrk="1" hangingPunct="1">
                <a:defRPr/>
              </a:pPr>
              <a:t>‹#›</a:t>
            </a:fld>
            <a:endParaRPr lang="en-US" altLang="uk-UA" sz="800" smtClean="0">
              <a:solidFill>
                <a:schemeClr val="bg2"/>
              </a:solidFill>
            </a:endParaRPr>
          </a:p>
        </p:txBody>
      </p:sp>
      <p:sp>
        <p:nvSpPr>
          <p:cNvPr id="67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0" tIns="0" rIns="0" bIns="0" anchor="ctr"/>
          <a:lstStyle/>
          <a:p>
            <a:pPr marL="0" lvl="8">
              <a:defRPr/>
            </a:pPr>
            <a:r>
              <a:rPr lang="en-US" sz="700" dirty="0">
                <a:solidFill>
                  <a:schemeClr val="bg2"/>
                </a:solidFill>
              </a:rPr>
              <a:t>© GfK </a:t>
            </a:r>
            <a:r>
              <a:rPr lang="ru-RU" sz="700" dirty="0">
                <a:solidFill>
                  <a:schemeClr val="bg2"/>
                </a:solidFill>
              </a:rPr>
              <a:t>27 Октября 2016 </a:t>
            </a:r>
            <a:r>
              <a:rPr lang="en-US" sz="700" dirty="0">
                <a:solidFill>
                  <a:schemeClr val="bg2"/>
                </a:solidFill>
              </a:rPr>
              <a:t>| </a:t>
            </a:r>
            <a:r>
              <a:rPr lang="ru-RU" sz="700" dirty="0">
                <a:solidFill>
                  <a:schemeClr val="bg2"/>
                </a:solidFill>
                <a:latin typeface="+mn-lt"/>
              </a:rPr>
              <a:t>Панельные исследования рынка розничных продаж </a:t>
            </a:r>
            <a:r>
              <a:rPr lang="ru-RU" sz="700" dirty="0" err="1">
                <a:solidFill>
                  <a:schemeClr val="bg2"/>
                </a:solidFill>
                <a:latin typeface="+mn-lt"/>
              </a:rPr>
              <a:t>БтиЭ</a:t>
            </a:r>
            <a:r>
              <a:rPr lang="ru-RU" sz="700" dirty="0">
                <a:solidFill>
                  <a:schemeClr val="bg2"/>
                </a:solidFill>
              </a:rPr>
              <a:t> </a:t>
            </a:r>
            <a:r>
              <a:rPr lang="en-US" sz="700" dirty="0">
                <a:solidFill>
                  <a:schemeClr val="bg2"/>
                </a:solidFill>
              </a:rPr>
              <a:t>| </a:t>
            </a:r>
            <a:r>
              <a:rPr lang="ru-RU" sz="700" dirty="0">
                <a:solidFill>
                  <a:schemeClr val="bg2"/>
                </a:solidFill>
              </a:rPr>
              <a:t>Осадчий А. </a:t>
            </a:r>
            <a:r>
              <a:rPr lang="en-US" sz="700" dirty="0">
                <a:solidFill>
                  <a:schemeClr val="bg2"/>
                </a:solidFill>
              </a:rPr>
              <a:t>|</a:t>
            </a:r>
            <a:r>
              <a:rPr lang="ru-RU" sz="700" dirty="0">
                <a:solidFill>
                  <a:schemeClr val="bg2"/>
                </a:solidFill>
              </a:rPr>
              <a:t> </a:t>
            </a:r>
            <a:r>
              <a:rPr lang="en-US" sz="700" dirty="0" err="1">
                <a:solidFill>
                  <a:schemeClr val="bg2"/>
                </a:solidFill>
              </a:rPr>
              <a:t>eCommerce</a:t>
            </a:r>
            <a:r>
              <a:rPr lang="en-US" sz="700" dirty="0">
                <a:solidFill>
                  <a:schemeClr val="bg2"/>
                </a:solidFill>
              </a:rPr>
              <a:t> 2016 </a:t>
            </a:r>
          </a:p>
        </p:txBody>
      </p:sp>
      <p:pic>
        <p:nvPicPr>
          <p:cNvPr id="68" name="Grafik 7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3888" y="195263"/>
            <a:ext cx="57785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VCT_Marker_ID_4" hidden="1"/>
          <p:cNvSpPr/>
          <p:nvPr userDrawn="1">
            <p:custDataLst>
              <p:tags r:id="rId3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pic>
        <p:nvPicPr>
          <p:cNvPr id="70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9038" y="322263"/>
            <a:ext cx="17907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" name="Picture 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23410" y="987425"/>
            <a:ext cx="8497180" cy="1944688"/>
          </a:xfrm>
        </p:spPr>
        <p:txBody>
          <a:bodyPr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4648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6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uppieren 14"/>
          <p:cNvGrpSpPr>
            <a:grpSpLocks/>
          </p:cNvGrpSpPr>
          <p:nvPr userDrawn="1"/>
        </p:nvGrpSpPr>
        <p:grpSpPr bwMode="auto">
          <a:xfrm>
            <a:off x="323850" y="-315913"/>
            <a:ext cx="8496300" cy="215900"/>
            <a:chOff x="323850" y="-531550"/>
            <a:chExt cx="8496740" cy="432060"/>
          </a:xfrm>
        </p:grpSpPr>
        <p:cxnSp>
          <p:nvCxnSpPr>
            <p:cNvPr id="10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2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2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2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2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pieren 27"/>
          <p:cNvGrpSpPr>
            <a:grpSpLocks/>
          </p:cNvGrpSpPr>
          <p:nvPr/>
        </p:nvGrpSpPr>
        <p:grpSpPr bwMode="auto">
          <a:xfrm>
            <a:off x="323850" y="5235575"/>
            <a:ext cx="8496300" cy="215900"/>
            <a:chOff x="323850" y="-531550"/>
            <a:chExt cx="8496740" cy="432060"/>
          </a:xfrm>
        </p:grpSpPr>
        <p:cxnSp>
          <p:nvCxnSpPr>
            <p:cNvPr id="23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uppieren 7"/>
          <p:cNvGrpSpPr>
            <a:grpSpLocks/>
          </p:cNvGrpSpPr>
          <p:nvPr userDrawn="1"/>
        </p:nvGrpSpPr>
        <p:grpSpPr bwMode="auto">
          <a:xfrm>
            <a:off x="9251950" y="195263"/>
            <a:ext cx="217488" cy="4752975"/>
            <a:chOff x="9252514" y="195486"/>
            <a:chExt cx="216166" cy="4752594"/>
          </a:xfrm>
        </p:grpSpPr>
        <p:cxnSp>
          <p:nvCxnSpPr>
            <p:cNvPr id="36" name="Gerade Verbindung 47"/>
            <p:cNvCxnSpPr/>
            <p:nvPr userDrawn="1"/>
          </p:nvCxnSpPr>
          <p:spPr bwMode="gray">
            <a:xfrm>
              <a:off x="9252514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48"/>
            <p:cNvCxnSpPr/>
            <p:nvPr userDrawn="1"/>
          </p:nvCxnSpPr>
          <p:spPr bwMode="gray">
            <a:xfrm>
              <a:off x="9252514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49"/>
            <p:cNvCxnSpPr/>
            <p:nvPr userDrawn="1"/>
          </p:nvCxnSpPr>
          <p:spPr bwMode="gray">
            <a:xfrm>
              <a:off x="9252514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50"/>
            <p:cNvCxnSpPr/>
            <p:nvPr userDrawn="1"/>
          </p:nvCxnSpPr>
          <p:spPr bwMode="gray">
            <a:xfrm>
              <a:off x="9252514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51"/>
            <p:cNvCxnSpPr/>
            <p:nvPr userDrawn="1"/>
          </p:nvCxnSpPr>
          <p:spPr bwMode="gray">
            <a:xfrm>
              <a:off x="9252514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52"/>
            <p:cNvCxnSpPr/>
            <p:nvPr userDrawn="1"/>
          </p:nvCxnSpPr>
          <p:spPr bwMode="gray">
            <a:xfrm>
              <a:off x="9252514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53"/>
            <p:cNvCxnSpPr/>
            <p:nvPr userDrawn="1"/>
          </p:nvCxnSpPr>
          <p:spPr bwMode="gray">
            <a:xfrm>
              <a:off x="9252514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54"/>
            <p:cNvCxnSpPr/>
            <p:nvPr userDrawn="1"/>
          </p:nvCxnSpPr>
          <p:spPr bwMode="gray">
            <a:xfrm>
              <a:off x="9252514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55"/>
            <p:cNvCxnSpPr/>
            <p:nvPr userDrawn="1"/>
          </p:nvCxnSpPr>
          <p:spPr bwMode="gray">
            <a:xfrm>
              <a:off x="9252514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56"/>
            <p:cNvCxnSpPr/>
            <p:nvPr userDrawn="1"/>
          </p:nvCxnSpPr>
          <p:spPr bwMode="gray">
            <a:xfrm>
              <a:off x="9252514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57"/>
            <p:cNvCxnSpPr/>
            <p:nvPr userDrawn="1"/>
          </p:nvCxnSpPr>
          <p:spPr bwMode="gray">
            <a:xfrm>
              <a:off x="9252514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58"/>
            <p:cNvCxnSpPr/>
            <p:nvPr userDrawn="1"/>
          </p:nvCxnSpPr>
          <p:spPr bwMode="gray">
            <a:xfrm>
              <a:off x="9252514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59"/>
            <p:cNvCxnSpPr/>
            <p:nvPr userDrawn="1"/>
          </p:nvCxnSpPr>
          <p:spPr bwMode="gray">
            <a:xfrm>
              <a:off x="9252514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81"/>
            <p:cNvCxnSpPr/>
            <p:nvPr userDrawn="1"/>
          </p:nvCxnSpPr>
          <p:spPr bwMode="gray">
            <a:xfrm>
              <a:off x="9252514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82"/>
            <p:cNvCxnSpPr/>
            <p:nvPr userDrawn="1"/>
          </p:nvCxnSpPr>
          <p:spPr bwMode="gray">
            <a:xfrm>
              <a:off x="9252514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85"/>
            <p:cNvCxnSpPr/>
            <p:nvPr userDrawn="1"/>
          </p:nvCxnSpPr>
          <p:spPr bwMode="gray">
            <a:xfrm>
              <a:off x="9252514" y="141935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uppieren 63"/>
          <p:cNvGrpSpPr>
            <a:grpSpLocks/>
          </p:cNvGrpSpPr>
          <p:nvPr/>
        </p:nvGrpSpPr>
        <p:grpSpPr bwMode="auto">
          <a:xfrm>
            <a:off x="-325438" y="195263"/>
            <a:ext cx="217488" cy="4752975"/>
            <a:chOff x="9252650" y="195486"/>
            <a:chExt cx="216166" cy="4752594"/>
          </a:xfrm>
        </p:grpSpPr>
        <p:cxnSp>
          <p:nvCxnSpPr>
            <p:cNvPr id="53" name="Gerade Verbindung 64"/>
            <p:cNvCxnSpPr/>
            <p:nvPr userDrawn="1"/>
          </p:nvCxnSpPr>
          <p:spPr bwMode="gray">
            <a:xfrm>
              <a:off x="9252650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66"/>
            <p:cNvCxnSpPr/>
            <p:nvPr userDrawn="1"/>
          </p:nvCxnSpPr>
          <p:spPr bwMode="gray">
            <a:xfrm>
              <a:off x="9252650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67"/>
            <p:cNvCxnSpPr/>
            <p:nvPr userDrawn="1"/>
          </p:nvCxnSpPr>
          <p:spPr bwMode="gray">
            <a:xfrm>
              <a:off x="9252650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68"/>
            <p:cNvCxnSpPr/>
            <p:nvPr userDrawn="1"/>
          </p:nvCxnSpPr>
          <p:spPr bwMode="gray">
            <a:xfrm>
              <a:off x="9252650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69"/>
            <p:cNvCxnSpPr/>
            <p:nvPr userDrawn="1"/>
          </p:nvCxnSpPr>
          <p:spPr bwMode="gray">
            <a:xfrm>
              <a:off x="9252650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70"/>
            <p:cNvCxnSpPr/>
            <p:nvPr userDrawn="1"/>
          </p:nvCxnSpPr>
          <p:spPr bwMode="gray">
            <a:xfrm>
              <a:off x="9252650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71"/>
            <p:cNvCxnSpPr/>
            <p:nvPr userDrawn="1"/>
          </p:nvCxnSpPr>
          <p:spPr bwMode="gray">
            <a:xfrm>
              <a:off x="9252650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72"/>
            <p:cNvCxnSpPr/>
            <p:nvPr userDrawn="1"/>
          </p:nvCxnSpPr>
          <p:spPr bwMode="gray">
            <a:xfrm>
              <a:off x="9252650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73"/>
            <p:cNvCxnSpPr/>
            <p:nvPr userDrawn="1"/>
          </p:nvCxnSpPr>
          <p:spPr bwMode="gray">
            <a:xfrm>
              <a:off x="9252650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74"/>
            <p:cNvCxnSpPr/>
            <p:nvPr userDrawn="1"/>
          </p:nvCxnSpPr>
          <p:spPr bwMode="gray">
            <a:xfrm>
              <a:off x="9252650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75"/>
            <p:cNvCxnSpPr/>
            <p:nvPr userDrawn="1"/>
          </p:nvCxnSpPr>
          <p:spPr bwMode="gray">
            <a:xfrm>
              <a:off x="9252650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76"/>
            <p:cNvCxnSpPr/>
            <p:nvPr userDrawn="1"/>
          </p:nvCxnSpPr>
          <p:spPr bwMode="gray">
            <a:xfrm>
              <a:off x="9252650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77"/>
            <p:cNvCxnSpPr/>
            <p:nvPr userDrawn="1"/>
          </p:nvCxnSpPr>
          <p:spPr bwMode="gray">
            <a:xfrm>
              <a:off x="9252650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80"/>
            <p:cNvCxnSpPr/>
            <p:nvPr userDrawn="1"/>
          </p:nvCxnSpPr>
          <p:spPr bwMode="gray">
            <a:xfrm>
              <a:off x="9252650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83"/>
            <p:cNvCxnSpPr/>
            <p:nvPr userDrawn="1"/>
          </p:nvCxnSpPr>
          <p:spPr bwMode="gray">
            <a:xfrm>
              <a:off x="9252650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84"/>
            <p:cNvCxnSpPr/>
            <p:nvPr userDrawn="1"/>
          </p:nvCxnSpPr>
          <p:spPr bwMode="gray">
            <a:xfrm>
              <a:off x="9252650" y="141300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9" name="Rechteck 65"/>
          <p:cNvSpPr>
            <a:spLocks noChangeArrowheads="1"/>
          </p:cNvSpPr>
          <p:nvPr/>
        </p:nvSpPr>
        <p:spPr bwMode="gray">
          <a:xfrm>
            <a:off x="7524750" y="4948238"/>
            <a:ext cx="1295400" cy="1444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0E1F0EFF-7AB7-4C8A-9A7C-BFB384F84D8C}" type="slidenum">
              <a:rPr lang="en-US" altLang="uk-UA" sz="800" smtClean="0">
                <a:solidFill>
                  <a:schemeClr val="bg2"/>
                </a:solidFill>
              </a:rPr>
              <a:pPr algn="r" eaLnBrk="1" hangingPunct="1">
                <a:defRPr/>
              </a:pPr>
              <a:t>‹#›</a:t>
            </a:fld>
            <a:endParaRPr lang="en-US" altLang="uk-UA" sz="800" smtClean="0">
              <a:solidFill>
                <a:schemeClr val="bg2"/>
              </a:solidFill>
            </a:endParaRPr>
          </a:p>
        </p:txBody>
      </p:sp>
      <p:sp>
        <p:nvSpPr>
          <p:cNvPr id="70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0" tIns="0" rIns="0" bIns="0" anchor="ctr"/>
          <a:lstStyle/>
          <a:p>
            <a:pPr marL="0" lvl="8">
              <a:defRPr/>
            </a:pPr>
            <a:r>
              <a:rPr lang="en-US" sz="700" dirty="0">
                <a:solidFill>
                  <a:schemeClr val="bg2"/>
                </a:solidFill>
              </a:rPr>
              <a:t>© GfK </a:t>
            </a:r>
            <a:r>
              <a:rPr lang="ru-RU" sz="700" dirty="0">
                <a:solidFill>
                  <a:schemeClr val="bg2"/>
                </a:solidFill>
              </a:rPr>
              <a:t>27 Октября 2016 </a:t>
            </a:r>
            <a:r>
              <a:rPr lang="en-US" sz="700" dirty="0">
                <a:solidFill>
                  <a:schemeClr val="bg2"/>
                </a:solidFill>
              </a:rPr>
              <a:t>| </a:t>
            </a:r>
            <a:r>
              <a:rPr lang="ru-RU" sz="700" dirty="0">
                <a:solidFill>
                  <a:schemeClr val="bg2"/>
                </a:solidFill>
                <a:latin typeface="+mn-lt"/>
              </a:rPr>
              <a:t>Панельные исследования рынка розничных продаж </a:t>
            </a:r>
            <a:r>
              <a:rPr lang="ru-RU" sz="700" dirty="0" err="1">
                <a:solidFill>
                  <a:schemeClr val="bg2"/>
                </a:solidFill>
                <a:latin typeface="+mn-lt"/>
              </a:rPr>
              <a:t>БтиЭ</a:t>
            </a:r>
            <a:r>
              <a:rPr lang="ru-RU" sz="700" dirty="0">
                <a:solidFill>
                  <a:schemeClr val="bg2"/>
                </a:solidFill>
              </a:rPr>
              <a:t> </a:t>
            </a:r>
            <a:r>
              <a:rPr lang="en-US" sz="700" dirty="0">
                <a:solidFill>
                  <a:schemeClr val="bg2"/>
                </a:solidFill>
              </a:rPr>
              <a:t>| </a:t>
            </a:r>
            <a:r>
              <a:rPr lang="ru-RU" sz="700" dirty="0">
                <a:solidFill>
                  <a:schemeClr val="bg2"/>
                </a:solidFill>
              </a:rPr>
              <a:t>Осадчий А. </a:t>
            </a:r>
            <a:r>
              <a:rPr lang="en-US" sz="700" dirty="0">
                <a:solidFill>
                  <a:schemeClr val="bg2"/>
                </a:solidFill>
              </a:rPr>
              <a:t>|</a:t>
            </a:r>
            <a:r>
              <a:rPr lang="ru-RU" sz="700" dirty="0">
                <a:solidFill>
                  <a:schemeClr val="bg2"/>
                </a:solidFill>
              </a:rPr>
              <a:t> </a:t>
            </a:r>
            <a:r>
              <a:rPr lang="en-US" sz="700" dirty="0" err="1">
                <a:solidFill>
                  <a:schemeClr val="bg2"/>
                </a:solidFill>
              </a:rPr>
              <a:t>eCommerce</a:t>
            </a:r>
            <a:r>
              <a:rPr lang="en-US" sz="700" dirty="0">
                <a:solidFill>
                  <a:schemeClr val="bg2"/>
                </a:solidFill>
              </a:rPr>
              <a:t> 2016 </a:t>
            </a:r>
          </a:p>
        </p:txBody>
      </p:sp>
      <p:pic>
        <p:nvPicPr>
          <p:cNvPr id="71" name="Grafik 7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3888" y="195263"/>
            <a:ext cx="57785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" name="VCT_Marker_ID_4" hidden="1"/>
          <p:cNvSpPr/>
          <p:nvPr userDrawn="1">
            <p:custDataLst>
              <p:tags r:id="rId3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74" name="Rechteck 6"/>
          <p:cNvSpPr/>
          <p:nvPr userDrawn="1"/>
        </p:nvSpPr>
        <p:spPr bwMode="gray">
          <a:xfrm>
            <a:off x="0" y="4927600"/>
            <a:ext cx="9144000" cy="2159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430" y="1779588"/>
            <a:ext cx="8209140" cy="1008193"/>
          </a:xfrm>
        </p:spPr>
        <p:txBody>
          <a:bodyPr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73" name="Picture 7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49" t="38459" r="28191" b="44228"/>
          <a:stretch/>
        </p:blipFill>
        <p:spPr>
          <a:xfrm>
            <a:off x="6339395" y="282314"/>
            <a:ext cx="1810353" cy="41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447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CT_Marker_ID_4" hidden="1"/>
          <p:cNvSpPr/>
          <p:nvPr>
            <p:custDataLst>
              <p:tags r:id="rId1"/>
            </p:custDataLst>
          </p:nvPr>
        </p:nvSpPr>
        <p:spPr bwMode="gray">
          <a:xfrm>
            <a:off x="1270000" y="95221"/>
            <a:ext cx="127000" cy="9522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Font typeface="Arial" charset="0"/>
              <a:buNone/>
              <a:defRPr/>
            </a:pPr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9446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8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14"/>
          <p:cNvGrpSpPr>
            <a:grpSpLocks/>
          </p:cNvGrpSpPr>
          <p:nvPr userDrawn="1"/>
        </p:nvGrpSpPr>
        <p:grpSpPr bwMode="auto">
          <a:xfrm>
            <a:off x="323850" y="-315913"/>
            <a:ext cx="8496300" cy="215900"/>
            <a:chOff x="323850" y="-531550"/>
            <a:chExt cx="8496740" cy="432060"/>
          </a:xfrm>
        </p:grpSpPr>
        <p:cxnSp>
          <p:nvCxnSpPr>
            <p:cNvPr id="5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1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1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2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2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2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2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2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2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uppieren 27"/>
          <p:cNvGrpSpPr>
            <a:grpSpLocks/>
          </p:cNvGrpSpPr>
          <p:nvPr/>
        </p:nvGrpSpPr>
        <p:grpSpPr bwMode="auto">
          <a:xfrm>
            <a:off x="323850" y="5235575"/>
            <a:ext cx="8496300" cy="215900"/>
            <a:chOff x="323850" y="-531550"/>
            <a:chExt cx="8496740" cy="432060"/>
          </a:xfrm>
        </p:grpSpPr>
        <p:cxnSp>
          <p:nvCxnSpPr>
            <p:cNvPr id="18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3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3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3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3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3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ieren 7"/>
          <p:cNvGrpSpPr>
            <a:grpSpLocks/>
          </p:cNvGrpSpPr>
          <p:nvPr userDrawn="1"/>
        </p:nvGrpSpPr>
        <p:grpSpPr bwMode="auto">
          <a:xfrm>
            <a:off x="9251950" y="195263"/>
            <a:ext cx="217488" cy="4752975"/>
            <a:chOff x="9252514" y="195486"/>
            <a:chExt cx="216166" cy="4752594"/>
          </a:xfrm>
        </p:grpSpPr>
        <p:cxnSp>
          <p:nvCxnSpPr>
            <p:cNvPr id="31" name="Gerade Verbindung 47"/>
            <p:cNvCxnSpPr/>
            <p:nvPr userDrawn="1"/>
          </p:nvCxnSpPr>
          <p:spPr bwMode="gray">
            <a:xfrm>
              <a:off x="9252514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48"/>
            <p:cNvCxnSpPr/>
            <p:nvPr userDrawn="1"/>
          </p:nvCxnSpPr>
          <p:spPr bwMode="gray">
            <a:xfrm>
              <a:off x="9252514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49"/>
            <p:cNvCxnSpPr/>
            <p:nvPr userDrawn="1"/>
          </p:nvCxnSpPr>
          <p:spPr bwMode="gray">
            <a:xfrm>
              <a:off x="9252514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50"/>
            <p:cNvCxnSpPr/>
            <p:nvPr userDrawn="1"/>
          </p:nvCxnSpPr>
          <p:spPr bwMode="gray">
            <a:xfrm>
              <a:off x="9252514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51"/>
            <p:cNvCxnSpPr/>
            <p:nvPr userDrawn="1"/>
          </p:nvCxnSpPr>
          <p:spPr bwMode="gray">
            <a:xfrm>
              <a:off x="9252514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52"/>
            <p:cNvCxnSpPr/>
            <p:nvPr userDrawn="1"/>
          </p:nvCxnSpPr>
          <p:spPr bwMode="gray">
            <a:xfrm>
              <a:off x="9252514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53"/>
            <p:cNvCxnSpPr/>
            <p:nvPr userDrawn="1"/>
          </p:nvCxnSpPr>
          <p:spPr bwMode="gray">
            <a:xfrm>
              <a:off x="9252514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54"/>
            <p:cNvCxnSpPr/>
            <p:nvPr userDrawn="1"/>
          </p:nvCxnSpPr>
          <p:spPr bwMode="gray">
            <a:xfrm>
              <a:off x="9252514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55"/>
            <p:cNvCxnSpPr/>
            <p:nvPr userDrawn="1"/>
          </p:nvCxnSpPr>
          <p:spPr bwMode="gray">
            <a:xfrm>
              <a:off x="9252514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56"/>
            <p:cNvCxnSpPr/>
            <p:nvPr userDrawn="1"/>
          </p:nvCxnSpPr>
          <p:spPr bwMode="gray">
            <a:xfrm>
              <a:off x="9252514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57"/>
            <p:cNvCxnSpPr/>
            <p:nvPr userDrawn="1"/>
          </p:nvCxnSpPr>
          <p:spPr bwMode="gray">
            <a:xfrm>
              <a:off x="9252514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58"/>
            <p:cNvCxnSpPr/>
            <p:nvPr userDrawn="1"/>
          </p:nvCxnSpPr>
          <p:spPr bwMode="gray">
            <a:xfrm>
              <a:off x="9252514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59"/>
            <p:cNvCxnSpPr/>
            <p:nvPr userDrawn="1"/>
          </p:nvCxnSpPr>
          <p:spPr bwMode="gray">
            <a:xfrm>
              <a:off x="9252514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1"/>
            <p:cNvCxnSpPr/>
            <p:nvPr userDrawn="1"/>
          </p:nvCxnSpPr>
          <p:spPr bwMode="gray">
            <a:xfrm>
              <a:off x="9252514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2"/>
            <p:cNvCxnSpPr/>
            <p:nvPr userDrawn="1"/>
          </p:nvCxnSpPr>
          <p:spPr bwMode="gray">
            <a:xfrm>
              <a:off x="9252514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5"/>
            <p:cNvCxnSpPr/>
            <p:nvPr userDrawn="1"/>
          </p:nvCxnSpPr>
          <p:spPr bwMode="gray">
            <a:xfrm>
              <a:off x="9252514" y="141935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uppieren 63"/>
          <p:cNvGrpSpPr>
            <a:grpSpLocks/>
          </p:cNvGrpSpPr>
          <p:nvPr/>
        </p:nvGrpSpPr>
        <p:grpSpPr bwMode="auto">
          <a:xfrm>
            <a:off x="-325438" y="195263"/>
            <a:ext cx="217488" cy="4752975"/>
            <a:chOff x="9252650" y="195486"/>
            <a:chExt cx="216166" cy="4752594"/>
          </a:xfrm>
        </p:grpSpPr>
        <p:cxnSp>
          <p:nvCxnSpPr>
            <p:cNvPr id="48" name="Gerade Verbindung 64"/>
            <p:cNvCxnSpPr/>
            <p:nvPr userDrawn="1"/>
          </p:nvCxnSpPr>
          <p:spPr bwMode="gray">
            <a:xfrm>
              <a:off x="9252650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66"/>
            <p:cNvCxnSpPr/>
            <p:nvPr userDrawn="1"/>
          </p:nvCxnSpPr>
          <p:spPr bwMode="gray">
            <a:xfrm>
              <a:off x="9252650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67"/>
            <p:cNvCxnSpPr/>
            <p:nvPr userDrawn="1"/>
          </p:nvCxnSpPr>
          <p:spPr bwMode="gray">
            <a:xfrm>
              <a:off x="9252650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68"/>
            <p:cNvCxnSpPr/>
            <p:nvPr userDrawn="1"/>
          </p:nvCxnSpPr>
          <p:spPr bwMode="gray">
            <a:xfrm>
              <a:off x="9252650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69"/>
            <p:cNvCxnSpPr/>
            <p:nvPr userDrawn="1"/>
          </p:nvCxnSpPr>
          <p:spPr bwMode="gray">
            <a:xfrm>
              <a:off x="9252650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70"/>
            <p:cNvCxnSpPr/>
            <p:nvPr userDrawn="1"/>
          </p:nvCxnSpPr>
          <p:spPr bwMode="gray">
            <a:xfrm>
              <a:off x="9252650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71"/>
            <p:cNvCxnSpPr/>
            <p:nvPr userDrawn="1"/>
          </p:nvCxnSpPr>
          <p:spPr bwMode="gray">
            <a:xfrm>
              <a:off x="9252650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72"/>
            <p:cNvCxnSpPr/>
            <p:nvPr userDrawn="1"/>
          </p:nvCxnSpPr>
          <p:spPr bwMode="gray">
            <a:xfrm>
              <a:off x="9252650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73"/>
            <p:cNvCxnSpPr/>
            <p:nvPr userDrawn="1"/>
          </p:nvCxnSpPr>
          <p:spPr bwMode="gray">
            <a:xfrm>
              <a:off x="9252650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74"/>
            <p:cNvCxnSpPr/>
            <p:nvPr userDrawn="1"/>
          </p:nvCxnSpPr>
          <p:spPr bwMode="gray">
            <a:xfrm>
              <a:off x="9252650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75"/>
            <p:cNvCxnSpPr/>
            <p:nvPr userDrawn="1"/>
          </p:nvCxnSpPr>
          <p:spPr bwMode="gray">
            <a:xfrm>
              <a:off x="9252650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76"/>
            <p:cNvCxnSpPr/>
            <p:nvPr userDrawn="1"/>
          </p:nvCxnSpPr>
          <p:spPr bwMode="gray">
            <a:xfrm>
              <a:off x="9252650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77"/>
            <p:cNvCxnSpPr/>
            <p:nvPr userDrawn="1"/>
          </p:nvCxnSpPr>
          <p:spPr bwMode="gray">
            <a:xfrm>
              <a:off x="9252650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80"/>
            <p:cNvCxnSpPr/>
            <p:nvPr userDrawn="1"/>
          </p:nvCxnSpPr>
          <p:spPr bwMode="gray">
            <a:xfrm>
              <a:off x="9252650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83"/>
            <p:cNvCxnSpPr/>
            <p:nvPr userDrawn="1"/>
          </p:nvCxnSpPr>
          <p:spPr bwMode="gray">
            <a:xfrm>
              <a:off x="9252650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84"/>
            <p:cNvCxnSpPr/>
            <p:nvPr userDrawn="1"/>
          </p:nvCxnSpPr>
          <p:spPr bwMode="gray">
            <a:xfrm>
              <a:off x="9252650" y="141300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Rechteck 65"/>
          <p:cNvSpPr>
            <a:spLocks noChangeArrowheads="1"/>
          </p:cNvSpPr>
          <p:nvPr/>
        </p:nvSpPr>
        <p:spPr bwMode="gray">
          <a:xfrm>
            <a:off x="7524750" y="4948238"/>
            <a:ext cx="1295400" cy="1444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82E6C202-5ADE-464E-AF6F-C8228C6CE8B5}" type="slidenum">
              <a:rPr lang="en-US" altLang="uk-UA" sz="800" smtClean="0">
                <a:solidFill>
                  <a:schemeClr val="bg2"/>
                </a:solidFill>
              </a:rPr>
              <a:pPr algn="r" eaLnBrk="1" hangingPunct="1">
                <a:defRPr/>
              </a:pPr>
              <a:t>‹#›</a:t>
            </a:fld>
            <a:endParaRPr lang="en-US" altLang="uk-UA" sz="800" smtClean="0">
              <a:solidFill>
                <a:schemeClr val="bg2"/>
              </a:solidFill>
            </a:endParaRPr>
          </a:p>
        </p:txBody>
      </p:sp>
      <p:sp>
        <p:nvSpPr>
          <p:cNvPr id="66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0" tIns="0" rIns="0" bIns="0" anchor="ctr"/>
          <a:lstStyle/>
          <a:p>
            <a:pPr marL="0" lvl="8">
              <a:defRPr/>
            </a:pPr>
            <a:r>
              <a:rPr lang="en-US" sz="700" dirty="0">
                <a:solidFill>
                  <a:schemeClr val="bg2"/>
                </a:solidFill>
              </a:rPr>
              <a:t>© GfK </a:t>
            </a:r>
            <a:r>
              <a:rPr lang="ru-RU" sz="700" dirty="0">
                <a:solidFill>
                  <a:schemeClr val="bg2"/>
                </a:solidFill>
              </a:rPr>
              <a:t>27 Октября 2016 </a:t>
            </a:r>
            <a:r>
              <a:rPr lang="en-US" sz="700" dirty="0">
                <a:solidFill>
                  <a:schemeClr val="bg2"/>
                </a:solidFill>
              </a:rPr>
              <a:t>| </a:t>
            </a:r>
            <a:r>
              <a:rPr lang="ru-RU" sz="700" dirty="0">
                <a:solidFill>
                  <a:schemeClr val="bg2"/>
                </a:solidFill>
                <a:latin typeface="+mn-lt"/>
              </a:rPr>
              <a:t>Панельные исследования рынка розничных продаж </a:t>
            </a:r>
            <a:r>
              <a:rPr lang="ru-RU" sz="700" dirty="0" err="1">
                <a:solidFill>
                  <a:schemeClr val="bg2"/>
                </a:solidFill>
                <a:latin typeface="+mn-lt"/>
              </a:rPr>
              <a:t>БтиЭ</a:t>
            </a:r>
            <a:r>
              <a:rPr lang="ru-RU" sz="700" dirty="0">
                <a:solidFill>
                  <a:schemeClr val="bg2"/>
                </a:solidFill>
              </a:rPr>
              <a:t> </a:t>
            </a:r>
            <a:r>
              <a:rPr lang="en-US" sz="700" dirty="0">
                <a:solidFill>
                  <a:schemeClr val="bg2"/>
                </a:solidFill>
              </a:rPr>
              <a:t>| </a:t>
            </a:r>
            <a:r>
              <a:rPr lang="ru-RU" sz="700" dirty="0">
                <a:solidFill>
                  <a:schemeClr val="bg2"/>
                </a:solidFill>
              </a:rPr>
              <a:t>Осадчий А. </a:t>
            </a:r>
            <a:r>
              <a:rPr lang="en-US" sz="700" dirty="0">
                <a:solidFill>
                  <a:schemeClr val="bg2"/>
                </a:solidFill>
              </a:rPr>
              <a:t>|</a:t>
            </a:r>
            <a:r>
              <a:rPr lang="ru-RU" sz="700" dirty="0">
                <a:solidFill>
                  <a:schemeClr val="bg2"/>
                </a:solidFill>
              </a:rPr>
              <a:t> </a:t>
            </a:r>
            <a:r>
              <a:rPr lang="en-US" sz="700" dirty="0" err="1">
                <a:solidFill>
                  <a:schemeClr val="bg2"/>
                </a:solidFill>
              </a:rPr>
              <a:t>eCommerce</a:t>
            </a:r>
            <a:r>
              <a:rPr lang="en-US" sz="700" dirty="0">
                <a:solidFill>
                  <a:schemeClr val="bg2"/>
                </a:solidFill>
              </a:rPr>
              <a:t> 2016 </a:t>
            </a:r>
          </a:p>
        </p:txBody>
      </p:sp>
      <p:pic>
        <p:nvPicPr>
          <p:cNvPr id="67" name="Grafik 7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3888" y="195263"/>
            <a:ext cx="57785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" name="VCT_Marker_ID_4" hidden="1"/>
          <p:cNvSpPr/>
          <p:nvPr userDrawn="1">
            <p:custDataLst>
              <p:tags r:id="rId3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pic>
        <p:nvPicPr>
          <p:cNvPr id="69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9038" y="322263"/>
            <a:ext cx="17907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8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1" name="Gruppieren 5"/>
          <p:cNvGrpSpPr>
            <a:grpSpLocks/>
          </p:cNvGrpSpPr>
          <p:nvPr/>
        </p:nvGrpSpPr>
        <p:grpSpPr bwMode="auto">
          <a:xfrm>
            <a:off x="-325438" y="-236538"/>
            <a:ext cx="9794876" cy="5616576"/>
            <a:chOff x="-324680" y="-315520"/>
            <a:chExt cx="9793360" cy="7489040"/>
          </a:xfrm>
        </p:grpSpPr>
        <p:grpSp>
          <p:nvGrpSpPr>
            <p:cNvPr id="72" name="Gruppieren 6"/>
            <p:cNvGrpSpPr>
              <a:grpSpLocks/>
            </p:cNvGrpSpPr>
            <p:nvPr/>
          </p:nvGrpSpPr>
          <p:grpSpPr bwMode="auto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113" name="Gerade Verbindung 59"/>
              <p:cNvCxnSpPr/>
              <p:nvPr/>
            </p:nvCxnSpPr>
            <p:spPr bwMode="gray">
              <a:xfrm>
                <a:off x="-540710" y="11238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Gerade Verbindung 60"/>
              <p:cNvCxnSpPr/>
              <p:nvPr/>
            </p:nvCxnSpPr>
            <p:spPr bwMode="gray">
              <a:xfrm>
                <a:off x="-540710" y="907959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Gerade Verbindung 61"/>
              <p:cNvCxnSpPr/>
              <p:nvPr/>
            </p:nvCxnSpPr>
            <p:spPr bwMode="gray">
              <a:xfrm>
                <a:off x="-540710" y="659776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Gerade Verbindung 62"/>
              <p:cNvCxnSpPr/>
              <p:nvPr/>
            </p:nvCxnSpPr>
            <p:spPr bwMode="gray">
              <a:xfrm>
                <a:off x="-540710" y="645382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 Verbindung 63"/>
              <p:cNvCxnSpPr/>
              <p:nvPr/>
            </p:nvCxnSpPr>
            <p:spPr bwMode="gray">
              <a:xfrm>
                <a:off x="-540710" y="638185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uppieren 7"/>
            <p:cNvGrpSpPr>
              <a:grpSpLocks/>
            </p:cNvGrpSpPr>
            <p:nvPr/>
          </p:nvGrpSpPr>
          <p:grpSpPr bwMode="auto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101" name="Gerade Verbindung 47"/>
              <p:cNvCxnSpPr/>
              <p:nvPr/>
            </p:nvCxnSpPr>
            <p:spPr bwMode="gray">
              <a:xfrm rot="5400000">
                <a:off x="108600" y="-315641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 Verbindung 48"/>
              <p:cNvCxnSpPr/>
              <p:nvPr/>
            </p:nvCxnSpPr>
            <p:spPr bwMode="gray">
              <a:xfrm rot="5400000">
                <a:off x="1403800" y="-315641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49"/>
              <p:cNvCxnSpPr/>
              <p:nvPr/>
            </p:nvCxnSpPr>
            <p:spPr bwMode="gray">
              <a:xfrm rot="5400000">
                <a:off x="1548240" y="-315641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 Verbindung 50"/>
              <p:cNvCxnSpPr/>
              <p:nvPr/>
            </p:nvCxnSpPr>
            <p:spPr bwMode="gray">
              <a:xfrm rot="5400000">
                <a:off x="2845027" y="-315641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 Verbindung 51"/>
              <p:cNvCxnSpPr/>
              <p:nvPr/>
            </p:nvCxnSpPr>
            <p:spPr bwMode="gray">
              <a:xfrm rot="5400000">
                <a:off x="2987879" y="-315641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Gerade Verbindung 52"/>
              <p:cNvCxnSpPr/>
              <p:nvPr/>
            </p:nvCxnSpPr>
            <p:spPr bwMode="gray">
              <a:xfrm rot="5400000">
                <a:off x="4284667" y="-315641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 Verbindung 53"/>
              <p:cNvCxnSpPr/>
              <p:nvPr/>
            </p:nvCxnSpPr>
            <p:spPr bwMode="gray">
              <a:xfrm rot="5400000">
                <a:off x="4429106" y="-315641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 Verbindung 54"/>
              <p:cNvCxnSpPr/>
              <p:nvPr/>
            </p:nvCxnSpPr>
            <p:spPr bwMode="gray">
              <a:xfrm rot="5400000">
                <a:off x="5724306" y="-315641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55"/>
              <p:cNvCxnSpPr/>
              <p:nvPr/>
            </p:nvCxnSpPr>
            <p:spPr bwMode="gray">
              <a:xfrm rot="5400000">
                <a:off x="5868747" y="-315641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56"/>
              <p:cNvCxnSpPr/>
              <p:nvPr/>
            </p:nvCxnSpPr>
            <p:spPr bwMode="gray">
              <a:xfrm rot="5400000">
                <a:off x="7165533" y="-315641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 Verbindung 57"/>
              <p:cNvCxnSpPr/>
              <p:nvPr/>
            </p:nvCxnSpPr>
            <p:spPr bwMode="gray">
              <a:xfrm rot="5400000">
                <a:off x="7308386" y="-315641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 Verbindung 58"/>
              <p:cNvCxnSpPr/>
              <p:nvPr/>
            </p:nvCxnSpPr>
            <p:spPr bwMode="gray">
              <a:xfrm rot="5400000">
                <a:off x="8605173" y="-315641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4" name="Gruppieren 8"/>
            <p:cNvGrpSpPr>
              <a:grpSpLocks/>
            </p:cNvGrpSpPr>
            <p:nvPr/>
          </p:nvGrpSpPr>
          <p:grpSpPr bwMode="auto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89" name="Gerade Verbindung 35"/>
              <p:cNvCxnSpPr/>
              <p:nvPr/>
            </p:nvCxnSpPr>
            <p:spPr bwMode="gray">
              <a:xfrm rot="5400000">
                <a:off x="107453" y="-315396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Gerade Verbindung 36"/>
              <p:cNvCxnSpPr/>
              <p:nvPr/>
            </p:nvCxnSpPr>
            <p:spPr bwMode="gray">
              <a:xfrm rot="5400000">
                <a:off x="1402653" y="-315396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Gerade Verbindung 37"/>
              <p:cNvCxnSpPr/>
              <p:nvPr/>
            </p:nvCxnSpPr>
            <p:spPr bwMode="gray">
              <a:xfrm rot="5400000">
                <a:off x="1547092" y="-315396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38"/>
              <p:cNvCxnSpPr/>
              <p:nvPr/>
            </p:nvCxnSpPr>
            <p:spPr bwMode="gray">
              <a:xfrm rot="5400000">
                <a:off x="2843880" y="-315396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Gerade Verbindung 39"/>
              <p:cNvCxnSpPr/>
              <p:nvPr/>
            </p:nvCxnSpPr>
            <p:spPr bwMode="gray">
              <a:xfrm rot="5400000">
                <a:off x="2986733" y="-315396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Gerade Verbindung 40"/>
              <p:cNvCxnSpPr/>
              <p:nvPr/>
            </p:nvCxnSpPr>
            <p:spPr bwMode="gray">
              <a:xfrm rot="5400000">
                <a:off x="4283519" y="-315396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Gerade Verbindung 41"/>
              <p:cNvCxnSpPr/>
              <p:nvPr/>
            </p:nvCxnSpPr>
            <p:spPr bwMode="gray">
              <a:xfrm rot="5400000">
                <a:off x="4427960" y="-315396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Gerade Verbindung 42"/>
              <p:cNvCxnSpPr/>
              <p:nvPr/>
            </p:nvCxnSpPr>
            <p:spPr bwMode="gray">
              <a:xfrm rot="5400000">
                <a:off x="5723159" y="-315396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Gerade Verbindung 43"/>
              <p:cNvCxnSpPr/>
              <p:nvPr/>
            </p:nvCxnSpPr>
            <p:spPr bwMode="gray">
              <a:xfrm rot="5400000">
                <a:off x="5867599" y="-315396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Gerade Verbindung 44"/>
              <p:cNvCxnSpPr/>
              <p:nvPr/>
            </p:nvCxnSpPr>
            <p:spPr bwMode="gray">
              <a:xfrm rot="5400000">
                <a:off x="7164386" y="-315396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 Verbindung 45"/>
              <p:cNvCxnSpPr/>
              <p:nvPr/>
            </p:nvCxnSpPr>
            <p:spPr bwMode="gray">
              <a:xfrm rot="5400000">
                <a:off x="7307239" y="-315396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 Verbindung 46"/>
              <p:cNvCxnSpPr/>
              <p:nvPr/>
            </p:nvCxnSpPr>
            <p:spPr bwMode="gray">
              <a:xfrm rot="5400000">
                <a:off x="8604025" y="-315396"/>
                <a:ext cx="43181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5" name="Gruppieren 9"/>
            <p:cNvGrpSpPr>
              <a:grpSpLocks/>
            </p:cNvGrpSpPr>
            <p:nvPr/>
          </p:nvGrpSpPr>
          <p:grpSpPr bwMode="auto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76" name="Gerade Verbindung 22"/>
              <p:cNvCxnSpPr/>
              <p:nvPr/>
            </p:nvCxnSpPr>
            <p:spPr bwMode="gray">
              <a:xfrm>
                <a:off x="-540384" y="11238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 Verbindung 23"/>
              <p:cNvCxnSpPr/>
              <p:nvPr/>
            </p:nvCxnSpPr>
            <p:spPr bwMode="gray">
              <a:xfrm>
                <a:off x="-540384" y="907959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 Verbindung 24"/>
              <p:cNvCxnSpPr/>
              <p:nvPr/>
            </p:nvCxnSpPr>
            <p:spPr bwMode="gray">
              <a:xfrm>
                <a:off x="-540384" y="659776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Gerade Verbindung 25"/>
              <p:cNvCxnSpPr/>
              <p:nvPr/>
            </p:nvCxnSpPr>
            <p:spPr bwMode="gray">
              <a:xfrm>
                <a:off x="-540384" y="645382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 Verbindung 26"/>
              <p:cNvCxnSpPr/>
              <p:nvPr/>
            </p:nvCxnSpPr>
            <p:spPr bwMode="gray">
              <a:xfrm>
                <a:off x="-540384" y="544625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Gerade Verbindung 27"/>
              <p:cNvCxnSpPr/>
              <p:nvPr/>
            </p:nvCxnSpPr>
            <p:spPr bwMode="gray">
              <a:xfrm>
                <a:off x="-540384" y="530231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Gerade Verbindung 28"/>
              <p:cNvCxnSpPr/>
              <p:nvPr/>
            </p:nvCxnSpPr>
            <p:spPr bwMode="gray">
              <a:xfrm>
                <a:off x="-540384" y="4364600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Gerade Verbindung 29"/>
              <p:cNvCxnSpPr/>
              <p:nvPr/>
            </p:nvCxnSpPr>
            <p:spPr bwMode="gray">
              <a:xfrm>
                <a:off x="-540384" y="4220662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Gerade Verbindung 30"/>
              <p:cNvCxnSpPr/>
              <p:nvPr/>
            </p:nvCxnSpPr>
            <p:spPr bwMode="gray">
              <a:xfrm>
                <a:off x="-540384" y="328506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Gerade Verbindung 31"/>
              <p:cNvCxnSpPr/>
              <p:nvPr/>
            </p:nvCxnSpPr>
            <p:spPr bwMode="gray">
              <a:xfrm>
                <a:off x="-540384" y="3141123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Gerade Verbindung 32"/>
              <p:cNvCxnSpPr/>
              <p:nvPr/>
            </p:nvCxnSpPr>
            <p:spPr bwMode="gray">
              <a:xfrm>
                <a:off x="-540384" y="2203406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Gerade Verbindung 33"/>
              <p:cNvCxnSpPr/>
              <p:nvPr/>
            </p:nvCxnSpPr>
            <p:spPr bwMode="gray">
              <a:xfrm>
                <a:off x="-540384" y="205946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Gerade Verbindung 34"/>
              <p:cNvCxnSpPr/>
              <p:nvPr/>
            </p:nvCxnSpPr>
            <p:spPr bwMode="gray">
              <a:xfrm>
                <a:off x="-540384" y="638185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5" name="Title 64"/>
          <p:cNvSpPr>
            <a:spLocks noGrp="1"/>
          </p:cNvSpPr>
          <p:nvPr>
            <p:ph type="title"/>
          </p:nvPr>
        </p:nvSpPr>
        <p:spPr bwMode="gray">
          <a:xfrm>
            <a:off x="323850" y="842963"/>
            <a:ext cx="8496622" cy="1999060"/>
          </a:xfrm>
          <a:prstGeom prst="rect">
            <a:avLst/>
          </a:prstGeom>
        </p:spPr>
        <p:txBody>
          <a:bodyPr/>
          <a:lstStyle>
            <a:lvl1pPr>
              <a:defRPr sz="3799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72996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50" y="1779588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50" y="2859791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9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371888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01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ieren 14"/>
          <p:cNvGrpSpPr>
            <a:grpSpLocks/>
          </p:cNvGrpSpPr>
          <p:nvPr userDrawn="1"/>
        </p:nvGrpSpPr>
        <p:grpSpPr bwMode="auto">
          <a:xfrm>
            <a:off x="323850" y="-315913"/>
            <a:ext cx="8496300" cy="215900"/>
            <a:chOff x="323850" y="-531550"/>
            <a:chExt cx="8496740" cy="432060"/>
          </a:xfrm>
        </p:grpSpPr>
        <p:cxnSp>
          <p:nvCxnSpPr>
            <p:cNvPr id="7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2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2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2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2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2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2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uppieren 27"/>
          <p:cNvGrpSpPr>
            <a:grpSpLocks/>
          </p:cNvGrpSpPr>
          <p:nvPr/>
        </p:nvGrpSpPr>
        <p:grpSpPr bwMode="auto">
          <a:xfrm>
            <a:off x="323850" y="5235575"/>
            <a:ext cx="8496300" cy="215900"/>
            <a:chOff x="323850" y="-531550"/>
            <a:chExt cx="8496740" cy="432060"/>
          </a:xfrm>
        </p:grpSpPr>
        <p:cxnSp>
          <p:nvCxnSpPr>
            <p:cNvPr id="21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3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3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uppieren 7"/>
          <p:cNvGrpSpPr>
            <a:grpSpLocks/>
          </p:cNvGrpSpPr>
          <p:nvPr userDrawn="1"/>
        </p:nvGrpSpPr>
        <p:grpSpPr bwMode="auto">
          <a:xfrm>
            <a:off x="9251950" y="195263"/>
            <a:ext cx="217488" cy="4752975"/>
            <a:chOff x="9252514" y="195486"/>
            <a:chExt cx="216166" cy="4752594"/>
          </a:xfrm>
        </p:grpSpPr>
        <p:cxnSp>
          <p:nvCxnSpPr>
            <p:cNvPr id="34" name="Gerade Verbindung 47"/>
            <p:cNvCxnSpPr/>
            <p:nvPr userDrawn="1"/>
          </p:nvCxnSpPr>
          <p:spPr bwMode="gray">
            <a:xfrm>
              <a:off x="9252514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48"/>
            <p:cNvCxnSpPr/>
            <p:nvPr userDrawn="1"/>
          </p:nvCxnSpPr>
          <p:spPr bwMode="gray">
            <a:xfrm>
              <a:off x="9252514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49"/>
            <p:cNvCxnSpPr/>
            <p:nvPr userDrawn="1"/>
          </p:nvCxnSpPr>
          <p:spPr bwMode="gray">
            <a:xfrm>
              <a:off x="9252514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50"/>
            <p:cNvCxnSpPr/>
            <p:nvPr userDrawn="1"/>
          </p:nvCxnSpPr>
          <p:spPr bwMode="gray">
            <a:xfrm>
              <a:off x="9252514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51"/>
            <p:cNvCxnSpPr/>
            <p:nvPr userDrawn="1"/>
          </p:nvCxnSpPr>
          <p:spPr bwMode="gray">
            <a:xfrm>
              <a:off x="9252514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52"/>
            <p:cNvCxnSpPr/>
            <p:nvPr userDrawn="1"/>
          </p:nvCxnSpPr>
          <p:spPr bwMode="gray">
            <a:xfrm>
              <a:off x="9252514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53"/>
            <p:cNvCxnSpPr/>
            <p:nvPr userDrawn="1"/>
          </p:nvCxnSpPr>
          <p:spPr bwMode="gray">
            <a:xfrm>
              <a:off x="9252514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54"/>
            <p:cNvCxnSpPr/>
            <p:nvPr userDrawn="1"/>
          </p:nvCxnSpPr>
          <p:spPr bwMode="gray">
            <a:xfrm>
              <a:off x="9252514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55"/>
            <p:cNvCxnSpPr/>
            <p:nvPr userDrawn="1"/>
          </p:nvCxnSpPr>
          <p:spPr bwMode="gray">
            <a:xfrm>
              <a:off x="9252514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56"/>
            <p:cNvCxnSpPr/>
            <p:nvPr userDrawn="1"/>
          </p:nvCxnSpPr>
          <p:spPr bwMode="gray">
            <a:xfrm>
              <a:off x="9252514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57"/>
            <p:cNvCxnSpPr/>
            <p:nvPr userDrawn="1"/>
          </p:nvCxnSpPr>
          <p:spPr bwMode="gray">
            <a:xfrm>
              <a:off x="9252514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58"/>
            <p:cNvCxnSpPr/>
            <p:nvPr userDrawn="1"/>
          </p:nvCxnSpPr>
          <p:spPr bwMode="gray">
            <a:xfrm>
              <a:off x="9252514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59"/>
            <p:cNvCxnSpPr/>
            <p:nvPr userDrawn="1"/>
          </p:nvCxnSpPr>
          <p:spPr bwMode="gray">
            <a:xfrm>
              <a:off x="9252514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81"/>
            <p:cNvCxnSpPr/>
            <p:nvPr userDrawn="1"/>
          </p:nvCxnSpPr>
          <p:spPr bwMode="gray">
            <a:xfrm>
              <a:off x="9252514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82"/>
            <p:cNvCxnSpPr/>
            <p:nvPr userDrawn="1"/>
          </p:nvCxnSpPr>
          <p:spPr bwMode="gray">
            <a:xfrm>
              <a:off x="9252514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85"/>
            <p:cNvCxnSpPr/>
            <p:nvPr userDrawn="1"/>
          </p:nvCxnSpPr>
          <p:spPr bwMode="gray">
            <a:xfrm>
              <a:off x="9252514" y="141935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uppieren 63"/>
          <p:cNvGrpSpPr>
            <a:grpSpLocks/>
          </p:cNvGrpSpPr>
          <p:nvPr/>
        </p:nvGrpSpPr>
        <p:grpSpPr bwMode="auto">
          <a:xfrm>
            <a:off x="-325438" y="195263"/>
            <a:ext cx="217488" cy="4752975"/>
            <a:chOff x="9252650" y="195486"/>
            <a:chExt cx="216166" cy="4752594"/>
          </a:xfrm>
        </p:grpSpPr>
        <p:cxnSp>
          <p:nvCxnSpPr>
            <p:cNvPr id="51" name="Gerade Verbindung 64"/>
            <p:cNvCxnSpPr/>
            <p:nvPr userDrawn="1"/>
          </p:nvCxnSpPr>
          <p:spPr bwMode="gray">
            <a:xfrm>
              <a:off x="9252650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66"/>
            <p:cNvCxnSpPr/>
            <p:nvPr userDrawn="1"/>
          </p:nvCxnSpPr>
          <p:spPr bwMode="gray">
            <a:xfrm>
              <a:off x="9252650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67"/>
            <p:cNvCxnSpPr/>
            <p:nvPr userDrawn="1"/>
          </p:nvCxnSpPr>
          <p:spPr bwMode="gray">
            <a:xfrm>
              <a:off x="9252650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68"/>
            <p:cNvCxnSpPr/>
            <p:nvPr userDrawn="1"/>
          </p:nvCxnSpPr>
          <p:spPr bwMode="gray">
            <a:xfrm>
              <a:off x="9252650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69"/>
            <p:cNvCxnSpPr/>
            <p:nvPr userDrawn="1"/>
          </p:nvCxnSpPr>
          <p:spPr bwMode="gray">
            <a:xfrm>
              <a:off x="9252650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70"/>
            <p:cNvCxnSpPr/>
            <p:nvPr userDrawn="1"/>
          </p:nvCxnSpPr>
          <p:spPr bwMode="gray">
            <a:xfrm>
              <a:off x="9252650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71"/>
            <p:cNvCxnSpPr/>
            <p:nvPr userDrawn="1"/>
          </p:nvCxnSpPr>
          <p:spPr bwMode="gray">
            <a:xfrm>
              <a:off x="9252650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72"/>
            <p:cNvCxnSpPr/>
            <p:nvPr userDrawn="1"/>
          </p:nvCxnSpPr>
          <p:spPr bwMode="gray">
            <a:xfrm>
              <a:off x="9252650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73"/>
            <p:cNvCxnSpPr/>
            <p:nvPr userDrawn="1"/>
          </p:nvCxnSpPr>
          <p:spPr bwMode="gray">
            <a:xfrm>
              <a:off x="9252650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74"/>
            <p:cNvCxnSpPr/>
            <p:nvPr userDrawn="1"/>
          </p:nvCxnSpPr>
          <p:spPr bwMode="gray">
            <a:xfrm>
              <a:off x="9252650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75"/>
            <p:cNvCxnSpPr/>
            <p:nvPr userDrawn="1"/>
          </p:nvCxnSpPr>
          <p:spPr bwMode="gray">
            <a:xfrm>
              <a:off x="9252650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76"/>
            <p:cNvCxnSpPr/>
            <p:nvPr userDrawn="1"/>
          </p:nvCxnSpPr>
          <p:spPr bwMode="gray">
            <a:xfrm>
              <a:off x="9252650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77"/>
            <p:cNvCxnSpPr/>
            <p:nvPr userDrawn="1"/>
          </p:nvCxnSpPr>
          <p:spPr bwMode="gray">
            <a:xfrm>
              <a:off x="9252650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80"/>
            <p:cNvCxnSpPr/>
            <p:nvPr userDrawn="1"/>
          </p:nvCxnSpPr>
          <p:spPr bwMode="gray">
            <a:xfrm>
              <a:off x="9252650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83"/>
            <p:cNvCxnSpPr/>
            <p:nvPr userDrawn="1"/>
          </p:nvCxnSpPr>
          <p:spPr bwMode="gray">
            <a:xfrm>
              <a:off x="9252650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84"/>
            <p:cNvCxnSpPr/>
            <p:nvPr userDrawn="1"/>
          </p:nvCxnSpPr>
          <p:spPr bwMode="gray">
            <a:xfrm>
              <a:off x="9252650" y="141300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Rechteck 65"/>
          <p:cNvSpPr>
            <a:spLocks noChangeArrowheads="1"/>
          </p:cNvSpPr>
          <p:nvPr/>
        </p:nvSpPr>
        <p:spPr bwMode="gray">
          <a:xfrm>
            <a:off x="7524750" y="4948238"/>
            <a:ext cx="1295400" cy="1444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F3F2B9EF-B176-4A0C-926E-72FD2B88F00A}" type="slidenum">
              <a:rPr lang="en-US" altLang="uk-UA" sz="800" smtClean="0">
                <a:solidFill>
                  <a:schemeClr val="bg2"/>
                </a:solidFill>
              </a:rPr>
              <a:pPr algn="r" eaLnBrk="1" hangingPunct="1">
                <a:defRPr/>
              </a:pPr>
              <a:t>‹#›</a:t>
            </a:fld>
            <a:endParaRPr lang="en-US" altLang="uk-UA" sz="800" smtClean="0">
              <a:solidFill>
                <a:schemeClr val="bg2"/>
              </a:solidFill>
            </a:endParaRPr>
          </a:p>
        </p:txBody>
      </p:sp>
      <p:sp>
        <p:nvSpPr>
          <p:cNvPr id="68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0" tIns="0" rIns="0" bIns="0" anchor="ctr"/>
          <a:lstStyle/>
          <a:p>
            <a:pPr marL="0" marR="0" lvl="8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2"/>
                </a:solidFill>
              </a:rPr>
              <a:t>© GfK </a:t>
            </a:r>
            <a:r>
              <a:rPr lang="ru-RU" sz="700" dirty="0" smtClean="0">
                <a:solidFill>
                  <a:schemeClr val="bg2"/>
                </a:solidFill>
              </a:rPr>
              <a:t>25 мая 2017 </a:t>
            </a:r>
            <a:r>
              <a:rPr lang="en-US" sz="700" dirty="0" smtClean="0">
                <a:solidFill>
                  <a:schemeClr val="bg2"/>
                </a:solidFill>
              </a:rPr>
              <a:t>| </a:t>
            </a:r>
            <a:r>
              <a:rPr lang="ru-RU" sz="700" dirty="0" smtClean="0">
                <a:solidFill>
                  <a:schemeClr val="bg2"/>
                </a:solidFill>
              </a:rPr>
              <a:t>Осадчий А. </a:t>
            </a:r>
            <a:r>
              <a:rPr lang="en-US" sz="700" dirty="0" smtClean="0">
                <a:solidFill>
                  <a:schemeClr val="bg2"/>
                </a:solidFill>
              </a:rPr>
              <a:t>|</a:t>
            </a:r>
            <a:r>
              <a:rPr lang="ru-RU" sz="700" dirty="0" smtClean="0">
                <a:solidFill>
                  <a:schemeClr val="bg2"/>
                </a:solidFill>
              </a:rPr>
              <a:t> </a:t>
            </a:r>
            <a:r>
              <a:rPr lang="uk-UA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Аудитория Уанета. Статистика онлайн-покупок </a:t>
            </a:r>
            <a:r>
              <a:rPr lang="en-US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|</a:t>
            </a:r>
            <a:r>
              <a:rPr lang="ru-RU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n-US" sz="700" dirty="0" err="1" smtClean="0">
                <a:solidFill>
                  <a:schemeClr val="bg2"/>
                </a:solidFill>
              </a:rPr>
              <a:t>iForum</a:t>
            </a:r>
            <a:r>
              <a:rPr lang="en-US" sz="700" baseline="0" dirty="0" smtClean="0">
                <a:solidFill>
                  <a:schemeClr val="bg2"/>
                </a:solidFill>
              </a:rPr>
              <a:t> </a:t>
            </a:r>
            <a:r>
              <a:rPr lang="en-US" sz="700" dirty="0" smtClean="0">
                <a:solidFill>
                  <a:schemeClr val="bg2"/>
                </a:solidFill>
              </a:rPr>
              <a:t>2017 </a:t>
            </a:r>
            <a:endParaRPr lang="en-US" sz="700" dirty="0">
              <a:solidFill>
                <a:schemeClr val="bg2"/>
              </a:solidFill>
            </a:endParaRPr>
          </a:p>
        </p:txBody>
      </p:sp>
      <p:pic>
        <p:nvPicPr>
          <p:cNvPr id="69" name="Grafik 7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3888" y="195263"/>
            <a:ext cx="57785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" name="VCT_Marker_ID_4" hidden="1"/>
          <p:cNvSpPr/>
          <p:nvPr userDrawn="1">
            <p:custDataLst>
              <p:tags r:id="rId3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72" name="Object 86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013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72" name="Object 8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323410" y="1275572"/>
            <a:ext cx="8496740" cy="345676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3414" y="195420"/>
            <a:ext cx="6408889" cy="57608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/>
          </p:nvPr>
        </p:nvSpPr>
        <p:spPr bwMode="gray">
          <a:xfrm>
            <a:off x="323411" y="915523"/>
            <a:ext cx="8497180" cy="28804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798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798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798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798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798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798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798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798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798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73" name="Picture 72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49" t="38459" r="28191" b="44228"/>
          <a:stretch/>
        </p:blipFill>
        <p:spPr>
          <a:xfrm>
            <a:off x="6339395" y="282314"/>
            <a:ext cx="1810353" cy="41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828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/>
          </p:nvPr>
        </p:nvSpPr>
        <p:spPr bwMode="gray">
          <a:xfrm>
            <a:off x="323850" y="4839892"/>
            <a:ext cx="8496300" cy="108347"/>
          </a:xfrm>
        </p:spPr>
        <p:txBody>
          <a:bodyPr tIns="0" bIns="36000" anchor="b"/>
          <a:lstStyle>
            <a:lvl1pPr marL="0" marR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323854" y="195488"/>
            <a:ext cx="6335713" cy="48555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9084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8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uppieren 14"/>
          <p:cNvGrpSpPr>
            <a:grpSpLocks/>
          </p:cNvGrpSpPr>
          <p:nvPr userDrawn="1"/>
        </p:nvGrpSpPr>
        <p:grpSpPr bwMode="auto">
          <a:xfrm>
            <a:off x="323850" y="-315913"/>
            <a:ext cx="8496300" cy="215900"/>
            <a:chOff x="323850" y="-531550"/>
            <a:chExt cx="8496740" cy="432060"/>
          </a:xfrm>
        </p:grpSpPr>
        <p:cxnSp>
          <p:nvCxnSpPr>
            <p:cNvPr id="10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2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2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2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2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pieren 27"/>
          <p:cNvGrpSpPr>
            <a:grpSpLocks/>
          </p:cNvGrpSpPr>
          <p:nvPr/>
        </p:nvGrpSpPr>
        <p:grpSpPr bwMode="auto">
          <a:xfrm>
            <a:off x="323850" y="5235575"/>
            <a:ext cx="8496300" cy="215900"/>
            <a:chOff x="323850" y="-531550"/>
            <a:chExt cx="8496740" cy="432060"/>
          </a:xfrm>
        </p:grpSpPr>
        <p:cxnSp>
          <p:nvCxnSpPr>
            <p:cNvPr id="23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uppieren 7"/>
          <p:cNvGrpSpPr>
            <a:grpSpLocks/>
          </p:cNvGrpSpPr>
          <p:nvPr userDrawn="1"/>
        </p:nvGrpSpPr>
        <p:grpSpPr bwMode="auto">
          <a:xfrm>
            <a:off x="9251950" y="195263"/>
            <a:ext cx="217488" cy="4752975"/>
            <a:chOff x="9252514" y="195486"/>
            <a:chExt cx="216166" cy="4752594"/>
          </a:xfrm>
        </p:grpSpPr>
        <p:cxnSp>
          <p:nvCxnSpPr>
            <p:cNvPr id="36" name="Gerade Verbindung 47"/>
            <p:cNvCxnSpPr/>
            <p:nvPr userDrawn="1"/>
          </p:nvCxnSpPr>
          <p:spPr bwMode="gray">
            <a:xfrm>
              <a:off x="9252514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48"/>
            <p:cNvCxnSpPr/>
            <p:nvPr userDrawn="1"/>
          </p:nvCxnSpPr>
          <p:spPr bwMode="gray">
            <a:xfrm>
              <a:off x="9252514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49"/>
            <p:cNvCxnSpPr/>
            <p:nvPr userDrawn="1"/>
          </p:nvCxnSpPr>
          <p:spPr bwMode="gray">
            <a:xfrm>
              <a:off x="9252514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50"/>
            <p:cNvCxnSpPr/>
            <p:nvPr userDrawn="1"/>
          </p:nvCxnSpPr>
          <p:spPr bwMode="gray">
            <a:xfrm>
              <a:off x="9252514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51"/>
            <p:cNvCxnSpPr/>
            <p:nvPr userDrawn="1"/>
          </p:nvCxnSpPr>
          <p:spPr bwMode="gray">
            <a:xfrm>
              <a:off x="9252514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52"/>
            <p:cNvCxnSpPr/>
            <p:nvPr userDrawn="1"/>
          </p:nvCxnSpPr>
          <p:spPr bwMode="gray">
            <a:xfrm>
              <a:off x="9252514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53"/>
            <p:cNvCxnSpPr/>
            <p:nvPr userDrawn="1"/>
          </p:nvCxnSpPr>
          <p:spPr bwMode="gray">
            <a:xfrm>
              <a:off x="9252514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54"/>
            <p:cNvCxnSpPr/>
            <p:nvPr userDrawn="1"/>
          </p:nvCxnSpPr>
          <p:spPr bwMode="gray">
            <a:xfrm>
              <a:off x="9252514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55"/>
            <p:cNvCxnSpPr/>
            <p:nvPr userDrawn="1"/>
          </p:nvCxnSpPr>
          <p:spPr bwMode="gray">
            <a:xfrm>
              <a:off x="9252514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56"/>
            <p:cNvCxnSpPr/>
            <p:nvPr userDrawn="1"/>
          </p:nvCxnSpPr>
          <p:spPr bwMode="gray">
            <a:xfrm>
              <a:off x="9252514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57"/>
            <p:cNvCxnSpPr/>
            <p:nvPr userDrawn="1"/>
          </p:nvCxnSpPr>
          <p:spPr bwMode="gray">
            <a:xfrm>
              <a:off x="9252514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58"/>
            <p:cNvCxnSpPr/>
            <p:nvPr userDrawn="1"/>
          </p:nvCxnSpPr>
          <p:spPr bwMode="gray">
            <a:xfrm>
              <a:off x="9252514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59"/>
            <p:cNvCxnSpPr/>
            <p:nvPr userDrawn="1"/>
          </p:nvCxnSpPr>
          <p:spPr bwMode="gray">
            <a:xfrm>
              <a:off x="9252514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81"/>
            <p:cNvCxnSpPr/>
            <p:nvPr userDrawn="1"/>
          </p:nvCxnSpPr>
          <p:spPr bwMode="gray">
            <a:xfrm>
              <a:off x="9252514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82"/>
            <p:cNvCxnSpPr/>
            <p:nvPr userDrawn="1"/>
          </p:nvCxnSpPr>
          <p:spPr bwMode="gray">
            <a:xfrm>
              <a:off x="9252514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85"/>
            <p:cNvCxnSpPr/>
            <p:nvPr userDrawn="1"/>
          </p:nvCxnSpPr>
          <p:spPr bwMode="gray">
            <a:xfrm>
              <a:off x="9252514" y="141935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uppieren 63"/>
          <p:cNvGrpSpPr>
            <a:grpSpLocks/>
          </p:cNvGrpSpPr>
          <p:nvPr/>
        </p:nvGrpSpPr>
        <p:grpSpPr bwMode="auto">
          <a:xfrm>
            <a:off x="-325438" y="195263"/>
            <a:ext cx="217488" cy="4752975"/>
            <a:chOff x="9252650" y="195486"/>
            <a:chExt cx="216166" cy="4752594"/>
          </a:xfrm>
        </p:grpSpPr>
        <p:cxnSp>
          <p:nvCxnSpPr>
            <p:cNvPr id="53" name="Gerade Verbindung 64"/>
            <p:cNvCxnSpPr/>
            <p:nvPr userDrawn="1"/>
          </p:nvCxnSpPr>
          <p:spPr bwMode="gray">
            <a:xfrm>
              <a:off x="9252650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66"/>
            <p:cNvCxnSpPr/>
            <p:nvPr userDrawn="1"/>
          </p:nvCxnSpPr>
          <p:spPr bwMode="gray">
            <a:xfrm>
              <a:off x="9252650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67"/>
            <p:cNvCxnSpPr/>
            <p:nvPr userDrawn="1"/>
          </p:nvCxnSpPr>
          <p:spPr bwMode="gray">
            <a:xfrm>
              <a:off x="9252650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68"/>
            <p:cNvCxnSpPr/>
            <p:nvPr userDrawn="1"/>
          </p:nvCxnSpPr>
          <p:spPr bwMode="gray">
            <a:xfrm>
              <a:off x="9252650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69"/>
            <p:cNvCxnSpPr/>
            <p:nvPr userDrawn="1"/>
          </p:nvCxnSpPr>
          <p:spPr bwMode="gray">
            <a:xfrm>
              <a:off x="9252650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70"/>
            <p:cNvCxnSpPr/>
            <p:nvPr userDrawn="1"/>
          </p:nvCxnSpPr>
          <p:spPr bwMode="gray">
            <a:xfrm>
              <a:off x="9252650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71"/>
            <p:cNvCxnSpPr/>
            <p:nvPr userDrawn="1"/>
          </p:nvCxnSpPr>
          <p:spPr bwMode="gray">
            <a:xfrm>
              <a:off x="9252650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72"/>
            <p:cNvCxnSpPr/>
            <p:nvPr userDrawn="1"/>
          </p:nvCxnSpPr>
          <p:spPr bwMode="gray">
            <a:xfrm>
              <a:off x="9252650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73"/>
            <p:cNvCxnSpPr/>
            <p:nvPr userDrawn="1"/>
          </p:nvCxnSpPr>
          <p:spPr bwMode="gray">
            <a:xfrm>
              <a:off x="9252650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74"/>
            <p:cNvCxnSpPr/>
            <p:nvPr userDrawn="1"/>
          </p:nvCxnSpPr>
          <p:spPr bwMode="gray">
            <a:xfrm>
              <a:off x="9252650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75"/>
            <p:cNvCxnSpPr/>
            <p:nvPr userDrawn="1"/>
          </p:nvCxnSpPr>
          <p:spPr bwMode="gray">
            <a:xfrm>
              <a:off x="9252650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76"/>
            <p:cNvCxnSpPr/>
            <p:nvPr userDrawn="1"/>
          </p:nvCxnSpPr>
          <p:spPr bwMode="gray">
            <a:xfrm>
              <a:off x="9252650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77"/>
            <p:cNvCxnSpPr/>
            <p:nvPr userDrawn="1"/>
          </p:nvCxnSpPr>
          <p:spPr bwMode="gray">
            <a:xfrm>
              <a:off x="9252650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80"/>
            <p:cNvCxnSpPr/>
            <p:nvPr userDrawn="1"/>
          </p:nvCxnSpPr>
          <p:spPr bwMode="gray">
            <a:xfrm>
              <a:off x="9252650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83"/>
            <p:cNvCxnSpPr/>
            <p:nvPr userDrawn="1"/>
          </p:nvCxnSpPr>
          <p:spPr bwMode="gray">
            <a:xfrm>
              <a:off x="9252650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84"/>
            <p:cNvCxnSpPr/>
            <p:nvPr userDrawn="1"/>
          </p:nvCxnSpPr>
          <p:spPr bwMode="gray">
            <a:xfrm>
              <a:off x="9252650" y="141300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9" name="Rechteck 65"/>
          <p:cNvSpPr>
            <a:spLocks noChangeArrowheads="1"/>
          </p:cNvSpPr>
          <p:nvPr/>
        </p:nvSpPr>
        <p:spPr bwMode="gray">
          <a:xfrm>
            <a:off x="7524750" y="4948238"/>
            <a:ext cx="1295400" cy="1444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57947685-1839-4322-B6D5-82C301BFA8D8}" type="slidenum">
              <a:rPr lang="en-US" altLang="uk-UA" sz="800" smtClean="0">
                <a:solidFill>
                  <a:schemeClr val="bg2"/>
                </a:solidFill>
              </a:rPr>
              <a:pPr algn="r" eaLnBrk="1" hangingPunct="1">
                <a:defRPr/>
              </a:pPr>
              <a:t>‹#›</a:t>
            </a:fld>
            <a:endParaRPr lang="en-US" altLang="uk-UA" sz="800" smtClean="0">
              <a:solidFill>
                <a:schemeClr val="bg2"/>
              </a:solidFill>
            </a:endParaRPr>
          </a:p>
        </p:txBody>
      </p:sp>
      <p:sp>
        <p:nvSpPr>
          <p:cNvPr id="70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0" tIns="0" rIns="0" bIns="0" anchor="ctr"/>
          <a:lstStyle/>
          <a:p>
            <a:pPr marL="0" lvl="8">
              <a:defRPr/>
            </a:pPr>
            <a:r>
              <a:rPr lang="en-US" sz="700" dirty="0">
                <a:solidFill>
                  <a:schemeClr val="bg2"/>
                </a:solidFill>
              </a:rPr>
              <a:t>© GfK </a:t>
            </a:r>
            <a:r>
              <a:rPr lang="ru-RU" sz="700" dirty="0">
                <a:solidFill>
                  <a:schemeClr val="bg2"/>
                </a:solidFill>
              </a:rPr>
              <a:t>27 Октября 2016 </a:t>
            </a:r>
            <a:r>
              <a:rPr lang="en-US" sz="700" dirty="0">
                <a:solidFill>
                  <a:schemeClr val="bg2"/>
                </a:solidFill>
              </a:rPr>
              <a:t>| </a:t>
            </a:r>
            <a:r>
              <a:rPr lang="ru-RU" sz="700" dirty="0">
                <a:solidFill>
                  <a:schemeClr val="bg2"/>
                </a:solidFill>
                <a:latin typeface="+mn-lt"/>
              </a:rPr>
              <a:t>Панельные исследования рынка розничных продаж </a:t>
            </a:r>
            <a:r>
              <a:rPr lang="ru-RU" sz="700" dirty="0" err="1">
                <a:solidFill>
                  <a:schemeClr val="bg2"/>
                </a:solidFill>
                <a:latin typeface="+mn-lt"/>
              </a:rPr>
              <a:t>БтиЭ</a:t>
            </a:r>
            <a:r>
              <a:rPr lang="ru-RU" sz="700" dirty="0">
                <a:solidFill>
                  <a:schemeClr val="bg2"/>
                </a:solidFill>
              </a:rPr>
              <a:t> </a:t>
            </a:r>
            <a:r>
              <a:rPr lang="en-US" sz="700" dirty="0">
                <a:solidFill>
                  <a:schemeClr val="bg2"/>
                </a:solidFill>
              </a:rPr>
              <a:t>| </a:t>
            </a:r>
            <a:r>
              <a:rPr lang="ru-RU" sz="700" dirty="0">
                <a:solidFill>
                  <a:schemeClr val="bg2"/>
                </a:solidFill>
              </a:rPr>
              <a:t>Осадчий А. </a:t>
            </a:r>
            <a:r>
              <a:rPr lang="en-US" sz="700" dirty="0">
                <a:solidFill>
                  <a:schemeClr val="bg2"/>
                </a:solidFill>
              </a:rPr>
              <a:t>|</a:t>
            </a:r>
            <a:r>
              <a:rPr lang="ru-RU" sz="700" dirty="0">
                <a:solidFill>
                  <a:schemeClr val="bg2"/>
                </a:solidFill>
              </a:rPr>
              <a:t> </a:t>
            </a:r>
            <a:r>
              <a:rPr lang="en-US" sz="700" dirty="0" err="1">
                <a:solidFill>
                  <a:schemeClr val="bg2"/>
                </a:solidFill>
              </a:rPr>
              <a:t>eCommerce</a:t>
            </a:r>
            <a:r>
              <a:rPr lang="en-US" sz="700" dirty="0">
                <a:solidFill>
                  <a:schemeClr val="bg2"/>
                </a:solidFill>
              </a:rPr>
              <a:t> 2016 </a:t>
            </a:r>
          </a:p>
        </p:txBody>
      </p:sp>
      <p:pic>
        <p:nvPicPr>
          <p:cNvPr id="71" name="Grafik 7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3888" y="195263"/>
            <a:ext cx="57785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" name="VCT_Marker_ID_4" hidden="1"/>
          <p:cNvSpPr/>
          <p:nvPr userDrawn="1">
            <p:custDataLst>
              <p:tags r:id="rId3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74" name="Rechteck 6"/>
          <p:cNvSpPr/>
          <p:nvPr userDrawn="1"/>
        </p:nvSpPr>
        <p:spPr bwMode="gray">
          <a:xfrm>
            <a:off x="0" y="4927600"/>
            <a:ext cx="9144000" cy="2159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410" y="915520"/>
            <a:ext cx="8497180" cy="1008140"/>
          </a:xfrm>
        </p:spPr>
        <p:txBody>
          <a:bodyPr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73" name="Picture 7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49" t="38459" r="28191" b="44228"/>
          <a:stretch/>
        </p:blipFill>
        <p:spPr>
          <a:xfrm>
            <a:off x="6339395" y="282314"/>
            <a:ext cx="1810353" cy="41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579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1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14"/>
          <p:cNvGrpSpPr>
            <a:grpSpLocks/>
          </p:cNvGrpSpPr>
          <p:nvPr userDrawn="1"/>
        </p:nvGrpSpPr>
        <p:grpSpPr bwMode="auto">
          <a:xfrm>
            <a:off x="323850" y="-315913"/>
            <a:ext cx="8496300" cy="215900"/>
            <a:chOff x="323850" y="-531550"/>
            <a:chExt cx="8496740" cy="432060"/>
          </a:xfrm>
        </p:grpSpPr>
        <p:cxnSp>
          <p:nvCxnSpPr>
            <p:cNvPr id="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1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2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2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2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2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2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2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27"/>
          <p:cNvGrpSpPr>
            <a:grpSpLocks/>
          </p:cNvGrpSpPr>
          <p:nvPr/>
        </p:nvGrpSpPr>
        <p:grpSpPr bwMode="auto">
          <a:xfrm>
            <a:off x="323850" y="5235575"/>
            <a:ext cx="8496300" cy="215900"/>
            <a:chOff x="323850" y="-531550"/>
            <a:chExt cx="8496740" cy="432060"/>
          </a:xfrm>
        </p:grpSpPr>
        <p:cxnSp>
          <p:nvCxnSpPr>
            <p:cNvPr id="1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3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3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3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3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uppieren 7"/>
          <p:cNvGrpSpPr>
            <a:grpSpLocks/>
          </p:cNvGrpSpPr>
          <p:nvPr userDrawn="1"/>
        </p:nvGrpSpPr>
        <p:grpSpPr bwMode="auto">
          <a:xfrm>
            <a:off x="9251950" y="195263"/>
            <a:ext cx="217488" cy="4752975"/>
            <a:chOff x="9252514" y="195486"/>
            <a:chExt cx="216166" cy="4752594"/>
          </a:xfrm>
        </p:grpSpPr>
        <p:cxnSp>
          <p:nvCxnSpPr>
            <p:cNvPr id="32" name="Gerade Verbindung 47"/>
            <p:cNvCxnSpPr/>
            <p:nvPr userDrawn="1"/>
          </p:nvCxnSpPr>
          <p:spPr bwMode="gray">
            <a:xfrm>
              <a:off x="9252514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48"/>
            <p:cNvCxnSpPr/>
            <p:nvPr userDrawn="1"/>
          </p:nvCxnSpPr>
          <p:spPr bwMode="gray">
            <a:xfrm>
              <a:off x="9252514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49"/>
            <p:cNvCxnSpPr/>
            <p:nvPr userDrawn="1"/>
          </p:nvCxnSpPr>
          <p:spPr bwMode="gray">
            <a:xfrm>
              <a:off x="9252514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50"/>
            <p:cNvCxnSpPr/>
            <p:nvPr userDrawn="1"/>
          </p:nvCxnSpPr>
          <p:spPr bwMode="gray">
            <a:xfrm>
              <a:off x="9252514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51"/>
            <p:cNvCxnSpPr/>
            <p:nvPr userDrawn="1"/>
          </p:nvCxnSpPr>
          <p:spPr bwMode="gray">
            <a:xfrm>
              <a:off x="9252514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52"/>
            <p:cNvCxnSpPr/>
            <p:nvPr userDrawn="1"/>
          </p:nvCxnSpPr>
          <p:spPr bwMode="gray">
            <a:xfrm>
              <a:off x="9252514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53"/>
            <p:cNvCxnSpPr/>
            <p:nvPr userDrawn="1"/>
          </p:nvCxnSpPr>
          <p:spPr bwMode="gray">
            <a:xfrm>
              <a:off x="9252514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54"/>
            <p:cNvCxnSpPr/>
            <p:nvPr userDrawn="1"/>
          </p:nvCxnSpPr>
          <p:spPr bwMode="gray">
            <a:xfrm>
              <a:off x="9252514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55"/>
            <p:cNvCxnSpPr/>
            <p:nvPr userDrawn="1"/>
          </p:nvCxnSpPr>
          <p:spPr bwMode="gray">
            <a:xfrm>
              <a:off x="9252514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56"/>
            <p:cNvCxnSpPr/>
            <p:nvPr userDrawn="1"/>
          </p:nvCxnSpPr>
          <p:spPr bwMode="gray">
            <a:xfrm>
              <a:off x="9252514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57"/>
            <p:cNvCxnSpPr/>
            <p:nvPr userDrawn="1"/>
          </p:nvCxnSpPr>
          <p:spPr bwMode="gray">
            <a:xfrm>
              <a:off x="9252514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58"/>
            <p:cNvCxnSpPr/>
            <p:nvPr userDrawn="1"/>
          </p:nvCxnSpPr>
          <p:spPr bwMode="gray">
            <a:xfrm>
              <a:off x="9252514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59"/>
            <p:cNvCxnSpPr/>
            <p:nvPr userDrawn="1"/>
          </p:nvCxnSpPr>
          <p:spPr bwMode="gray">
            <a:xfrm>
              <a:off x="9252514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1"/>
            <p:cNvCxnSpPr/>
            <p:nvPr userDrawn="1"/>
          </p:nvCxnSpPr>
          <p:spPr bwMode="gray">
            <a:xfrm>
              <a:off x="9252514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2"/>
            <p:cNvCxnSpPr/>
            <p:nvPr userDrawn="1"/>
          </p:nvCxnSpPr>
          <p:spPr bwMode="gray">
            <a:xfrm>
              <a:off x="9252514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85"/>
            <p:cNvCxnSpPr/>
            <p:nvPr userDrawn="1"/>
          </p:nvCxnSpPr>
          <p:spPr bwMode="gray">
            <a:xfrm>
              <a:off x="9252514" y="141935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uppieren 63"/>
          <p:cNvGrpSpPr>
            <a:grpSpLocks/>
          </p:cNvGrpSpPr>
          <p:nvPr/>
        </p:nvGrpSpPr>
        <p:grpSpPr bwMode="auto">
          <a:xfrm>
            <a:off x="-325438" y="195263"/>
            <a:ext cx="217488" cy="4752975"/>
            <a:chOff x="9252650" y="195486"/>
            <a:chExt cx="216166" cy="4752594"/>
          </a:xfrm>
        </p:grpSpPr>
        <p:cxnSp>
          <p:nvCxnSpPr>
            <p:cNvPr id="49" name="Gerade Verbindung 64"/>
            <p:cNvCxnSpPr/>
            <p:nvPr userDrawn="1"/>
          </p:nvCxnSpPr>
          <p:spPr bwMode="gray">
            <a:xfrm>
              <a:off x="9252650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66"/>
            <p:cNvCxnSpPr/>
            <p:nvPr userDrawn="1"/>
          </p:nvCxnSpPr>
          <p:spPr bwMode="gray">
            <a:xfrm>
              <a:off x="9252650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67"/>
            <p:cNvCxnSpPr/>
            <p:nvPr userDrawn="1"/>
          </p:nvCxnSpPr>
          <p:spPr bwMode="gray">
            <a:xfrm>
              <a:off x="9252650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68"/>
            <p:cNvCxnSpPr/>
            <p:nvPr userDrawn="1"/>
          </p:nvCxnSpPr>
          <p:spPr bwMode="gray">
            <a:xfrm>
              <a:off x="9252650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69"/>
            <p:cNvCxnSpPr/>
            <p:nvPr userDrawn="1"/>
          </p:nvCxnSpPr>
          <p:spPr bwMode="gray">
            <a:xfrm>
              <a:off x="9252650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70"/>
            <p:cNvCxnSpPr/>
            <p:nvPr userDrawn="1"/>
          </p:nvCxnSpPr>
          <p:spPr bwMode="gray">
            <a:xfrm>
              <a:off x="9252650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71"/>
            <p:cNvCxnSpPr/>
            <p:nvPr userDrawn="1"/>
          </p:nvCxnSpPr>
          <p:spPr bwMode="gray">
            <a:xfrm>
              <a:off x="9252650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72"/>
            <p:cNvCxnSpPr/>
            <p:nvPr userDrawn="1"/>
          </p:nvCxnSpPr>
          <p:spPr bwMode="gray">
            <a:xfrm>
              <a:off x="9252650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73"/>
            <p:cNvCxnSpPr/>
            <p:nvPr userDrawn="1"/>
          </p:nvCxnSpPr>
          <p:spPr bwMode="gray">
            <a:xfrm>
              <a:off x="9252650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74"/>
            <p:cNvCxnSpPr/>
            <p:nvPr userDrawn="1"/>
          </p:nvCxnSpPr>
          <p:spPr bwMode="gray">
            <a:xfrm>
              <a:off x="9252650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75"/>
            <p:cNvCxnSpPr/>
            <p:nvPr userDrawn="1"/>
          </p:nvCxnSpPr>
          <p:spPr bwMode="gray">
            <a:xfrm>
              <a:off x="9252650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76"/>
            <p:cNvCxnSpPr/>
            <p:nvPr userDrawn="1"/>
          </p:nvCxnSpPr>
          <p:spPr bwMode="gray">
            <a:xfrm>
              <a:off x="9252650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77"/>
            <p:cNvCxnSpPr/>
            <p:nvPr userDrawn="1"/>
          </p:nvCxnSpPr>
          <p:spPr bwMode="gray">
            <a:xfrm>
              <a:off x="9252650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80"/>
            <p:cNvCxnSpPr/>
            <p:nvPr userDrawn="1"/>
          </p:nvCxnSpPr>
          <p:spPr bwMode="gray">
            <a:xfrm>
              <a:off x="9252650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83"/>
            <p:cNvCxnSpPr/>
            <p:nvPr userDrawn="1"/>
          </p:nvCxnSpPr>
          <p:spPr bwMode="gray">
            <a:xfrm>
              <a:off x="9252650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84"/>
            <p:cNvCxnSpPr/>
            <p:nvPr userDrawn="1"/>
          </p:nvCxnSpPr>
          <p:spPr bwMode="gray">
            <a:xfrm>
              <a:off x="9252650" y="141300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Rechteck 65"/>
          <p:cNvSpPr>
            <a:spLocks noChangeArrowheads="1"/>
          </p:cNvSpPr>
          <p:nvPr/>
        </p:nvSpPr>
        <p:spPr bwMode="gray">
          <a:xfrm>
            <a:off x="7524750" y="4948238"/>
            <a:ext cx="1295400" cy="1444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00A77682-6707-45D4-A4A8-88EF2F1DEB9E}" type="slidenum">
              <a:rPr lang="en-US" altLang="uk-UA" sz="800" smtClean="0">
                <a:solidFill>
                  <a:schemeClr val="bg2"/>
                </a:solidFill>
              </a:rPr>
              <a:pPr algn="r" eaLnBrk="1" hangingPunct="1">
                <a:defRPr/>
              </a:pPr>
              <a:t>‹#›</a:t>
            </a:fld>
            <a:endParaRPr lang="en-US" altLang="uk-UA" sz="800" smtClean="0">
              <a:solidFill>
                <a:schemeClr val="bg2"/>
              </a:solidFill>
            </a:endParaRPr>
          </a:p>
        </p:txBody>
      </p:sp>
      <p:sp>
        <p:nvSpPr>
          <p:cNvPr id="66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0" tIns="0" rIns="0" bIns="0" anchor="ctr"/>
          <a:lstStyle/>
          <a:p>
            <a:pPr marL="0" marR="0" lvl="8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2"/>
                </a:solidFill>
              </a:rPr>
              <a:t>© GfK </a:t>
            </a:r>
            <a:r>
              <a:rPr lang="ru-RU" sz="700" dirty="0" smtClean="0">
                <a:solidFill>
                  <a:schemeClr val="bg2"/>
                </a:solidFill>
              </a:rPr>
              <a:t>25 мая 2017 </a:t>
            </a:r>
            <a:r>
              <a:rPr lang="en-US" sz="700" dirty="0" smtClean="0">
                <a:solidFill>
                  <a:schemeClr val="bg2"/>
                </a:solidFill>
              </a:rPr>
              <a:t>| </a:t>
            </a:r>
            <a:r>
              <a:rPr lang="ru-RU" sz="700" dirty="0" smtClean="0">
                <a:solidFill>
                  <a:schemeClr val="bg2"/>
                </a:solidFill>
              </a:rPr>
              <a:t>Осадчий А. </a:t>
            </a:r>
            <a:r>
              <a:rPr lang="en-US" sz="700" dirty="0" smtClean="0">
                <a:solidFill>
                  <a:schemeClr val="bg2"/>
                </a:solidFill>
              </a:rPr>
              <a:t>|</a:t>
            </a:r>
            <a:r>
              <a:rPr lang="ru-RU" sz="700" dirty="0" smtClean="0">
                <a:solidFill>
                  <a:schemeClr val="bg2"/>
                </a:solidFill>
              </a:rPr>
              <a:t> </a:t>
            </a:r>
            <a:r>
              <a:rPr lang="uk-UA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Аудитория Уанета. Статистика онлайн-покупок </a:t>
            </a:r>
            <a:r>
              <a:rPr lang="en-US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|</a:t>
            </a:r>
            <a:r>
              <a:rPr lang="ru-RU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n-US" sz="700" dirty="0" err="1" smtClean="0">
                <a:solidFill>
                  <a:schemeClr val="bg2"/>
                </a:solidFill>
              </a:rPr>
              <a:t>iForum</a:t>
            </a:r>
            <a:r>
              <a:rPr lang="en-US" sz="700" baseline="0" dirty="0" smtClean="0">
                <a:solidFill>
                  <a:schemeClr val="bg2"/>
                </a:solidFill>
              </a:rPr>
              <a:t> </a:t>
            </a:r>
            <a:r>
              <a:rPr lang="en-US" sz="700" dirty="0" smtClean="0">
                <a:solidFill>
                  <a:schemeClr val="bg2"/>
                </a:solidFill>
              </a:rPr>
              <a:t>2017 </a:t>
            </a:r>
            <a:endParaRPr lang="en-US" sz="700" dirty="0">
              <a:solidFill>
                <a:schemeClr val="bg2"/>
              </a:solidFill>
            </a:endParaRPr>
          </a:p>
        </p:txBody>
      </p:sp>
      <p:pic>
        <p:nvPicPr>
          <p:cNvPr id="67" name="Grafik 7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3888" y="195263"/>
            <a:ext cx="57785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" name="VCT_Marker_ID_4" hidden="1"/>
          <p:cNvSpPr/>
          <p:nvPr userDrawn="1">
            <p:custDataLst>
              <p:tags r:id="rId3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70" name="Picture 6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49" t="38459" r="28191" b="44228"/>
          <a:stretch/>
        </p:blipFill>
        <p:spPr>
          <a:xfrm>
            <a:off x="6339395" y="282314"/>
            <a:ext cx="1810353" cy="41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047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for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3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14"/>
          <p:cNvGrpSpPr>
            <a:grpSpLocks/>
          </p:cNvGrpSpPr>
          <p:nvPr userDrawn="1"/>
        </p:nvGrpSpPr>
        <p:grpSpPr bwMode="auto">
          <a:xfrm>
            <a:off x="323850" y="-315913"/>
            <a:ext cx="8496300" cy="215900"/>
            <a:chOff x="323850" y="-531550"/>
            <a:chExt cx="8496740" cy="432060"/>
          </a:xfrm>
        </p:grpSpPr>
        <p:cxnSp>
          <p:nvCxnSpPr>
            <p:cNvPr id="5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1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1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2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2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2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2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2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2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uppieren 27"/>
          <p:cNvGrpSpPr>
            <a:grpSpLocks/>
          </p:cNvGrpSpPr>
          <p:nvPr/>
        </p:nvGrpSpPr>
        <p:grpSpPr bwMode="auto">
          <a:xfrm>
            <a:off x="323850" y="5235575"/>
            <a:ext cx="8496300" cy="215900"/>
            <a:chOff x="323850" y="-531550"/>
            <a:chExt cx="8496740" cy="432060"/>
          </a:xfrm>
        </p:grpSpPr>
        <p:cxnSp>
          <p:nvCxnSpPr>
            <p:cNvPr id="18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3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3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3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3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3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ieren 7"/>
          <p:cNvGrpSpPr>
            <a:grpSpLocks/>
          </p:cNvGrpSpPr>
          <p:nvPr userDrawn="1"/>
        </p:nvGrpSpPr>
        <p:grpSpPr bwMode="auto">
          <a:xfrm>
            <a:off x="9251950" y="195263"/>
            <a:ext cx="217488" cy="4752975"/>
            <a:chOff x="9252514" y="195486"/>
            <a:chExt cx="216166" cy="4752594"/>
          </a:xfrm>
        </p:grpSpPr>
        <p:cxnSp>
          <p:nvCxnSpPr>
            <p:cNvPr id="31" name="Gerade Verbindung 47"/>
            <p:cNvCxnSpPr/>
            <p:nvPr userDrawn="1"/>
          </p:nvCxnSpPr>
          <p:spPr bwMode="gray">
            <a:xfrm>
              <a:off x="9252514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48"/>
            <p:cNvCxnSpPr/>
            <p:nvPr userDrawn="1"/>
          </p:nvCxnSpPr>
          <p:spPr bwMode="gray">
            <a:xfrm>
              <a:off x="9252514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49"/>
            <p:cNvCxnSpPr/>
            <p:nvPr userDrawn="1"/>
          </p:nvCxnSpPr>
          <p:spPr bwMode="gray">
            <a:xfrm>
              <a:off x="9252514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50"/>
            <p:cNvCxnSpPr/>
            <p:nvPr userDrawn="1"/>
          </p:nvCxnSpPr>
          <p:spPr bwMode="gray">
            <a:xfrm>
              <a:off x="9252514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51"/>
            <p:cNvCxnSpPr/>
            <p:nvPr userDrawn="1"/>
          </p:nvCxnSpPr>
          <p:spPr bwMode="gray">
            <a:xfrm>
              <a:off x="9252514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52"/>
            <p:cNvCxnSpPr/>
            <p:nvPr userDrawn="1"/>
          </p:nvCxnSpPr>
          <p:spPr bwMode="gray">
            <a:xfrm>
              <a:off x="9252514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53"/>
            <p:cNvCxnSpPr/>
            <p:nvPr userDrawn="1"/>
          </p:nvCxnSpPr>
          <p:spPr bwMode="gray">
            <a:xfrm>
              <a:off x="9252514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54"/>
            <p:cNvCxnSpPr/>
            <p:nvPr userDrawn="1"/>
          </p:nvCxnSpPr>
          <p:spPr bwMode="gray">
            <a:xfrm>
              <a:off x="9252514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55"/>
            <p:cNvCxnSpPr/>
            <p:nvPr userDrawn="1"/>
          </p:nvCxnSpPr>
          <p:spPr bwMode="gray">
            <a:xfrm>
              <a:off x="9252514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56"/>
            <p:cNvCxnSpPr/>
            <p:nvPr userDrawn="1"/>
          </p:nvCxnSpPr>
          <p:spPr bwMode="gray">
            <a:xfrm>
              <a:off x="9252514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57"/>
            <p:cNvCxnSpPr/>
            <p:nvPr userDrawn="1"/>
          </p:nvCxnSpPr>
          <p:spPr bwMode="gray">
            <a:xfrm>
              <a:off x="9252514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58"/>
            <p:cNvCxnSpPr/>
            <p:nvPr userDrawn="1"/>
          </p:nvCxnSpPr>
          <p:spPr bwMode="gray">
            <a:xfrm>
              <a:off x="9252514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59"/>
            <p:cNvCxnSpPr/>
            <p:nvPr userDrawn="1"/>
          </p:nvCxnSpPr>
          <p:spPr bwMode="gray">
            <a:xfrm>
              <a:off x="9252514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1"/>
            <p:cNvCxnSpPr/>
            <p:nvPr userDrawn="1"/>
          </p:nvCxnSpPr>
          <p:spPr bwMode="gray">
            <a:xfrm>
              <a:off x="9252514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2"/>
            <p:cNvCxnSpPr/>
            <p:nvPr userDrawn="1"/>
          </p:nvCxnSpPr>
          <p:spPr bwMode="gray">
            <a:xfrm>
              <a:off x="9252514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5"/>
            <p:cNvCxnSpPr/>
            <p:nvPr userDrawn="1"/>
          </p:nvCxnSpPr>
          <p:spPr bwMode="gray">
            <a:xfrm>
              <a:off x="9252514" y="141935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uppieren 63"/>
          <p:cNvGrpSpPr>
            <a:grpSpLocks/>
          </p:cNvGrpSpPr>
          <p:nvPr/>
        </p:nvGrpSpPr>
        <p:grpSpPr bwMode="auto">
          <a:xfrm>
            <a:off x="-325438" y="195263"/>
            <a:ext cx="217488" cy="4752975"/>
            <a:chOff x="9252650" y="195486"/>
            <a:chExt cx="216166" cy="4752594"/>
          </a:xfrm>
        </p:grpSpPr>
        <p:cxnSp>
          <p:nvCxnSpPr>
            <p:cNvPr id="48" name="Gerade Verbindung 64"/>
            <p:cNvCxnSpPr/>
            <p:nvPr userDrawn="1"/>
          </p:nvCxnSpPr>
          <p:spPr bwMode="gray">
            <a:xfrm>
              <a:off x="9252650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66"/>
            <p:cNvCxnSpPr/>
            <p:nvPr userDrawn="1"/>
          </p:nvCxnSpPr>
          <p:spPr bwMode="gray">
            <a:xfrm>
              <a:off x="9252650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67"/>
            <p:cNvCxnSpPr/>
            <p:nvPr userDrawn="1"/>
          </p:nvCxnSpPr>
          <p:spPr bwMode="gray">
            <a:xfrm>
              <a:off x="9252650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68"/>
            <p:cNvCxnSpPr/>
            <p:nvPr userDrawn="1"/>
          </p:nvCxnSpPr>
          <p:spPr bwMode="gray">
            <a:xfrm>
              <a:off x="9252650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69"/>
            <p:cNvCxnSpPr/>
            <p:nvPr userDrawn="1"/>
          </p:nvCxnSpPr>
          <p:spPr bwMode="gray">
            <a:xfrm>
              <a:off x="9252650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70"/>
            <p:cNvCxnSpPr/>
            <p:nvPr userDrawn="1"/>
          </p:nvCxnSpPr>
          <p:spPr bwMode="gray">
            <a:xfrm>
              <a:off x="9252650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71"/>
            <p:cNvCxnSpPr/>
            <p:nvPr userDrawn="1"/>
          </p:nvCxnSpPr>
          <p:spPr bwMode="gray">
            <a:xfrm>
              <a:off x="9252650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72"/>
            <p:cNvCxnSpPr/>
            <p:nvPr userDrawn="1"/>
          </p:nvCxnSpPr>
          <p:spPr bwMode="gray">
            <a:xfrm>
              <a:off x="9252650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73"/>
            <p:cNvCxnSpPr/>
            <p:nvPr userDrawn="1"/>
          </p:nvCxnSpPr>
          <p:spPr bwMode="gray">
            <a:xfrm>
              <a:off x="9252650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74"/>
            <p:cNvCxnSpPr/>
            <p:nvPr userDrawn="1"/>
          </p:nvCxnSpPr>
          <p:spPr bwMode="gray">
            <a:xfrm>
              <a:off x="9252650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75"/>
            <p:cNvCxnSpPr/>
            <p:nvPr userDrawn="1"/>
          </p:nvCxnSpPr>
          <p:spPr bwMode="gray">
            <a:xfrm>
              <a:off x="9252650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76"/>
            <p:cNvCxnSpPr/>
            <p:nvPr userDrawn="1"/>
          </p:nvCxnSpPr>
          <p:spPr bwMode="gray">
            <a:xfrm>
              <a:off x="9252650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77"/>
            <p:cNvCxnSpPr/>
            <p:nvPr userDrawn="1"/>
          </p:nvCxnSpPr>
          <p:spPr bwMode="gray">
            <a:xfrm>
              <a:off x="9252650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80"/>
            <p:cNvCxnSpPr/>
            <p:nvPr userDrawn="1"/>
          </p:nvCxnSpPr>
          <p:spPr bwMode="gray">
            <a:xfrm>
              <a:off x="9252650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83"/>
            <p:cNvCxnSpPr/>
            <p:nvPr userDrawn="1"/>
          </p:nvCxnSpPr>
          <p:spPr bwMode="gray">
            <a:xfrm>
              <a:off x="9252650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84"/>
            <p:cNvCxnSpPr/>
            <p:nvPr userDrawn="1"/>
          </p:nvCxnSpPr>
          <p:spPr bwMode="gray">
            <a:xfrm>
              <a:off x="9252650" y="141300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Rechteck 65"/>
          <p:cNvSpPr>
            <a:spLocks noChangeArrowheads="1"/>
          </p:cNvSpPr>
          <p:nvPr/>
        </p:nvSpPr>
        <p:spPr bwMode="gray">
          <a:xfrm>
            <a:off x="7524750" y="4948238"/>
            <a:ext cx="1295400" cy="1444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2D76FF8F-9D82-4ED4-9830-A959DE98EADB}" type="slidenum">
              <a:rPr lang="en-US" altLang="uk-UA" sz="800" smtClean="0">
                <a:solidFill>
                  <a:schemeClr val="bg2"/>
                </a:solidFill>
              </a:rPr>
              <a:pPr algn="r" eaLnBrk="1" hangingPunct="1">
                <a:defRPr/>
              </a:pPr>
              <a:t>‹#›</a:t>
            </a:fld>
            <a:endParaRPr lang="en-US" altLang="uk-UA" sz="800" smtClean="0">
              <a:solidFill>
                <a:schemeClr val="bg2"/>
              </a:solidFill>
            </a:endParaRPr>
          </a:p>
        </p:txBody>
      </p:sp>
      <p:sp>
        <p:nvSpPr>
          <p:cNvPr id="65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0" tIns="0" rIns="0" bIns="0" anchor="ctr"/>
          <a:lstStyle/>
          <a:p>
            <a:pPr marL="0" marR="0" lvl="8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2"/>
                </a:solidFill>
              </a:rPr>
              <a:t>© GfK </a:t>
            </a:r>
            <a:r>
              <a:rPr lang="ru-RU" sz="700" dirty="0" smtClean="0">
                <a:solidFill>
                  <a:schemeClr val="bg2"/>
                </a:solidFill>
              </a:rPr>
              <a:t>25 мая 2017 </a:t>
            </a:r>
            <a:r>
              <a:rPr lang="en-US" sz="700" dirty="0" smtClean="0">
                <a:solidFill>
                  <a:schemeClr val="bg2"/>
                </a:solidFill>
              </a:rPr>
              <a:t>| </a:t>
            </a:r>
            <a:r>
              <a:rPr lang="ru-RU" sz="700" dirty="0" smtClean="0">
                <a:solidFill>
                  <a:schemeClr val="bg2"/>
                </a:solidFill>
              </a:rPr>
              <a:t>Осадчий А. </a:t>
            </a:r>
            <a:r>
              <a:rPr lang="en-US" sz="700" dirty="0" smtClean="0">
                <a:solidFill>
                  <a:schemeClr val="bg2"/>
                </a:solidFill>
              </a:rPr>
              <a:t>|</a:t>
            </a:r>
            <a:r>
              <a:rPr lang="ru-RU" sz="700" dirty="0" smtClean="0">
                <a:solidFill>
                  <a:schemeClr val="bg2"/>
                </a:solidFill>
              </a:rPr>
              <a:t> </a:t>
            </a:r>
            <a:r>
              <a:rPr lang="uk-UA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Аудитория Уанета. Статистика онлайн-покупок </a:t>
            </a:r>
            <a:r>
              <a:rPr lang="en-US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|</a:t>
            </a:r>
            <a:r>
              <a:rPr lang="ru-RU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n-US" sz="700" dirty="0" err="1" smtClean="0">
                <a:solidFill>
                  <a:schemeClr val="bg2"/>
                </a:solidFill>
              </a:rPr>
              <a:t>iForum</a:t>
            </a:r>
            <a:r>
              <a:rPr lang="en-US" sz="700" baseline="0" dirty="0" smtClean="0">
                <a:solidFill>
                  <a:schemeClr val="bg2"/>
                </a:solidFill>
              </a:rPr>
              <a:t> </a:t>
            </a:r>
            <a:r>
              <a:rPr lang="en-US" sz="700" dirty="0" smtClean="0">
                <a:solidFill>
                  <a:schemeClr val="bg2"/>
                </a:solidFill>
              </a:rPr>
              <a:t>2017 </a:t>
            </a:r>
            <a:endParaRPr lang="en-US" sz="700" dirty="0">
              <a:solidFill>
                <a:schemeClr val="bg2"/>
              </a:solidFill>
            </a:endParaRPr>
          </a:p>
        </p:txBody>
      </p:sp>
      <p:pic>
        <p:nvPicPr>
          <p:cNvPr id="66" name="Grafik 7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3888" y="195263"/>
            <a:ext cx="57785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VCT_Marker_ID_4" hidden="1"/>
          <p:cNvSpPr/>
          <p:nvPr userDrawn="1">
            <p:custDataLst>
              <p:tags r:id="rId3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pic>
        <p:nvPicPr>
          <p:cNvPr id="68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9038" y="322263"/>
            <a:ext cx="17907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324000" rIns="324000" spcCol="0" rtlCol="0" fromWordArt="0" anchor="ctr" forceAA="0"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91711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fo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6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14"/>
          <p:cNvGrpSpPr>
            <a:grpSpLocks/>
          </p:cNvGrpSpPr>
          <p:nvPr userDrawn="1"/>
        </p:nvGrpSpPr>
        <p:grpSpPr bwMode="auto">
          <a:xfrm>
            <a:off x="323850" y="-315913"/>
            <a:ext cx="8496300" cy="215900"/>
            <a:chOff x="323850" y="-531550"/>
            <a:chExt cx="8496740" cy="432060"/>
          </a:xfrm>
        </p:grpSpPr>
        <p:cxnSp>
          <p:nvCxnSpPr>
            <p:cNvPr id="5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1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1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2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2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2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2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2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2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uppieren 27"/>
          <p:cNvGrpSpPr>
            <a:grpSpLocks/>
          </p:cNvGrpSpPr>
          <p:nvPr/>
        </p:nvGrpSpPr>
        <p:grpSpPr bwMode="auto">
          <a:xfrm>
            <a:off x="323850" y="5235575"/>
            <a:ext cx="8496300" cy="215900"/>
            <a:chOff x="323850" y="-531550"/>
            <a:chExt cx="8496740" cy="432060"/>
          </a:xfrm>
        </p:grpSpPr>
        <p:cxnSp>
          <p:nvCxnSpPr>
            <p:cNvPr id="18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3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3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3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3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3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ieren 7"/>
          <p:cNvGrpSpPr>
            <a:grpSpLocks/>
          </p:cNvGrpSpPr>
          <p:nvPr userDrawn="1"/>
        </p:nvGrpSpPr>
        <p:grpSpPr bwMode="auto">
          <a:xfrm>
            <a:off x="9251950" y="195263"/>
            <a:ext cx="217488" cy="4752975"/>
            <a:chOff x="9252514" y="195486"/>
            <a:chExt cx="216166" cy="4752594"/>
          </a:xfrm>
        </p:grpSpPr>
        <p:cxnSp>
          <p:nvCxnSpPr>
            <p:cNvPr id="31" name="Gerade Verbindung 47"/>
            <p:cNvCxnSpPr/>
            <p:nvPr userDrawn="1"/>
          </p:nvCxnSpPr>
          <p:spPr bwMode="gray">
            <a:xfrm>
              <a:off x="9252514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48"/>
            <p:cNvCxnSpPr/>
            <p:nvPr userDrawn="1"/>
          </p:nvCxnSpPr>
          <p:spPr bwMode="gray">
            <a:xfrm>
              <a:off x="9252514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49"/>
            <p:cNvCxnSpPr/>
            <p:nvPr userDrawn="1"/>
          </p:nvCxnSpPr>
          <p:spPr bwMode="gray">
            <a:xfrm>
              <a:off x="9252514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50"/>
            <p:cNvCxnSpPr/>
            <p:nvPr userDrawn="1"/>
          </p:nvCxnSpPr>
          <p:spPr bwMode="gray">
            <a:xfrm>
              <a:off x="9252514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51"/>
            <p:cNvCxnSpPr/>
            <p:nvPr userDrawn="1"/>
          </p:nvCxnSpPr>
          <p:spPr bwMode="gray">
            <a:xfrm>
              <a:off x="9252514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52"/>
            <p:cNvCxnSpPr/>
            <p:nvPr userDrawn="1"/>
          </p:nvCxnSpPr>
          <p:spPr bwMode="gray">
            <a:xfrm>
              <a:off x="9252514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53"/>
            <p:cNvCxnSpPr/>
            <p:nvPr userDrawn="1"/>
          </p:nvCxnSpPr>
          <p:spPr bwMode="gray">
            <a:xfrm>
              <a:off x="9252514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54"/>
            <p:cNvCxnSpPr/>
            <p:nvPr userDrawn="1"/>
          </p:nvCxnSpPr>
          <p:spPr bwMode="gray">
            <a:xfrm>
              <a:off x="9252514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55"/>
            <p:cNvCxnSpPr/>
            <p:nvPr userDrawn="1"/>
          </p:nvCxnSpPr>
          <p:spPr bwMode="gray">
            <a:xfrm>
              <a:off x="9252514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56"/>
            <p:cNvCxnSpPr/>
            <p:nvPr userDrawn="1"/>
          </p:nvCxnSpPr>
          <p:spPr bwMode="gray">
            <a:xfrm>
              <a:off x="9252514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57"/>
            <p:cNvCxnSpPr/>
            <p:nvPr userDrawn="1"/>
          </p:nvCxnSpPr>
          <p:spPr bwMode="gray">
            <a:xfrm>
              <a:off x="9252514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58"/>
            <p:cNvCxnSpPr/>
            <p:nvPr userDrawn="1"/>
          </p:nvCxnSpPr>
          <p:spPr bwMode="gray">
            <a:xfrm>
              <a:off x="9252514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59"/>
            <p:cNvCxnSpPr/>
            <p:nvPr userDrawn="1"/>
          </p:nvCxnSpPr>
          <p:spPr bwMode="gray">
            <a:xfrm>
              <a:off x="9252514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1"/>
            <p:cNvCxnSpPr/>
            <p:nvPr userDrawn="1"/>
          </p:nvCxnSpPr>
          <p:spPr bwMode="gray">
            <a:xfrm>
              <a:off x="9252514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2"/>
            <p:cNvCxnSpPr/>
            <p:nvPr userDrawn="1"/>
          </p:nvCxnSpPr>
          <p:spPr bwMode="gray">
            <a:xfrm>
              <a:off x="9252514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5"/>
            <p:cNvCxnSpPr/>
            <p:nvPr userDrawn="1"/>
          </p:nvCxnSpPr>
          <p:spPr bwMode="gray">
            <a:xfrm>
              <a:off x="9252514" y="141935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uppieren 63"/>
          <p:cNvGrpSpPr>
            <a:grpSpLocks/>
          </p:cNvGrpSpPr>
          <p:nvPr/>
        </p:nvGrpSpPr>
        <p:grpSpPr bwMode="auto">
          <a:xfrm>
            <a:off x="-325438" y="195263"/>
            <a:ext cx="217488" cy="4752975"/>
            <a:chOff x="9252650" y="195486"/>
            <a:chExt cx="216166" cy="4752594"/>
          </a:xfrm>
        </p:grpSpPr>
        <p:cxnSp>
          <p:nvCxnSpPr>
            <p:cNvPr id="48" name="Gerade Verbindung 64"/>
            <p:cNvCxnSpPr/>
            <p:nvPr userDrawn="1"/>
          </p:nvCxnSpPr>
          <p:spPr bwMode="gray">
            <a:xfrm>
              <a:off x="9252650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66"/>
            <p:cNvCxnSpPr/>
            <p:nvPr userDrawn="1"/>
          </p:nvCxnSpPr>
          <p:spPr bwMode="gray">
            <a:xfrm>
              <a:off x="9252650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67"/>
            <p:cNvCxnSpPr/>
            <p:nvPr userDrawn="1"/>
          </p:nvCxnSpPr>
          <p:spPr bwMode="gray">
            <a:xfrm>
              <a:off x="9252650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68"/>
            <p:cNvCxnSpPr/>
            <p:nvPr userDrawn="1"/>
          </p:nvCxnSpPr>
          <p:spPr bwMode="gray">
            <a:xfrm>
              <a:off x="9252650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69"/>
            <p:cNvCxnSpPr/>
            <p:nvPr userDrawn="1"/>
          </p:nvCxnSpPr>
          <p:spPr bwMode="gray">
            <a:xfrm>
              <a:off x="9252650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70"/>
            <p:cNvCxnSpPr/>
            <p:nvPr userDrawn="1"/>
          </p:nvCxnSpPr>
          <p:spPr bwMode="gray">
            <a:xfrm>
              <a:off x="9252650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71"/>
            <p:cNvCxnSpPr/>
            <p:nvPr userDrawn="1"/>
          </p:nvCxnSpPr>
          <p:spPr bwMode="gray">
            <a:xfrm>
              <a:off x="9252650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72"/>
            <p:cNvCxnSpPr/>
            <p:nvPr userDrawn="1"/>
          </p:nvCxnSpPr>
          <p:spPr bwMode="gray">
            <a:xfrm>
              <a:off x="9252650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73"/>
            <p:cNvCxnSpPr/>
            <p:nvPr userDrawn="1"/>
          </p:nvCxnSpPr>
          <p:spPr bwMode="gray">
            <a:xfrm>
              <a:off x="9252650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74"/>
            <p:cNvCxnSpPr/>
            <p:nvPr userDrawn="1"/>
          </p:nvCxnSpPr>
          <p:spPr bwMode="gray">
            <a:xfrm>
              <a:off x="9252650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75"/>
            <p:cNvCxnSpPr/>
            <p:nvPr userDrawn="1"/>
          </p:nvCxnSpPr>
          <p:spPr bwMode="gray">
            <a:xfrm>
              <a:off x="9252650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76"/>
            <p:cNvCxnSpPr/>
            <p:nvPr userDrawn="1"/>
          </p:nvCxnSpPr>
          <p:spPr bwMode="gray">
            <a:xfrm>
              <a:off x="9252650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77"/>
            <p:cNvCxnSpPr/>
            <p:nvPr userDrawn="1"/>
          </p:nvCxnSpPr>
          <p:spPr bwMode="gray">
            <a:xfrm>
              <a:off x="9252650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80"/>
            <p:cNvCxnSpPr/>
            <p:nvPr userDrawn="1"/>
          </p:nvCxnSpPr>
          <p:spPr bwMode="gray">
            <a:xfrm>
              <a:off x="9252650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83"/>
            <p:cNvCxnSpPr/>
            <p:nvPr userDrawn="1"/>
          </p:nvCxnSpPr>
          <p:spPr bwMode="gray">
            <a:xfrm>
              <a:off x="9252650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84"/>
            <p:cNvCxnSpPr/>
            <p:nvPr userDrawn="1"/>
          </p:nvCxnSpPr>
          <p:spPr bwMode="gray">
            <a:xfrm>
              <a:off x="9252650" y="141300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Rechteck 65"/>
          <p:cNvSpPr>
            <a:spLocks noChangeArrowheads="1"/>
          </p:cNvSpPr>
          <p:nvPr/>
        </p:nvSpPr>
        <p:spPr bwMode="gray">
          <a:xfrm>
            <a:off x="7524750" y="4948238"/>
            <a:ext cx="1295400" cy="1444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2BCB3CD4-C5A8-44FF-8B4D-DBED975B016A}" type="slidenum">
              <a:rPr lang="en-US" altLang="uk-UA" sz="800" smtClean="0">
                <a:solidFill>
                  <a:schemeClr val="bg2"/>
                </a:solidFill>
              </a:rPr>
              <a:pPr algn="r" eaLnBrk="1" hangingPunct="1">
                <a:defRPr/>
              </a:pPr>
              <a:t>‹#›</a:t>
            </a:fld>
            <a:endParaRPr lang="en-US" altLang="uk-UA" sz="800" smtClean="0">
              <a:solidFill>
                <a:schemeClr val="bg2"/>
              </a:solidFill>
            </a:endParaRPr>
          </a:p>
        </p:txBody>
      </p:sp>
      <p:sp>
        <p:nvSpPr>
          <p:cNvPr id="65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0" tIns="0" rIns="0" bIns="0" anchor="ctr"/>
          <a:lstStyle/>
          <a:p>
            <a:pPr marL="0" marR="0" lvl="8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2"/>
                </a:solidFill>
              </a:rPr>
              <a:t>© GfK </a:t>
            </a:r>
            <a:r>
              <a:rPr lang="ru-RU" sz="700" dirty="0" smtClean="0">
                <a:solidFill>
                  <a:schemeClr val="bg2"/>
                </a:solidFill>
              </a:rPr>
              <a:t>25 мая 2017 </a:t>
            </a:r>
            <a:r>
              <a:rPr lang="en-US" sz="700" dirty="0" smtClean="0">
                <a:solidFill>
                  <a:schemeClr val="bg2"/>
                </a:solidFill>
              </a:rPr>
              <a:t>| </a:t>
            </a:r>
            <a:r>
              <a:rPr lang="ru-RU" sz="700" dirty="0" smtClean="0">
                <a:solidFill>
                  <a:schemeClr val="bg2"/>
                </a:solidFill>
              </a:rPr>
              <a:t>Осадчий А. </a:t>
            </a:r>
            <a:r>
              <a:rPr lang="en-US" sz="700" dirty="0" smtClean="0">
                <a:solidFill>
                  <a:schemeClr val="bg2"/>
                </a:solidFill>
              </a:rPr>
              <a:t>|</a:t>
            </a:r>
            <a:r>
              <a:rPr lang="ru-RU" sz="700" dirty="0" smtClean="0">
                <a:solidFill>
                  <a:schemeClr val="bg2"/>
                </a:solidFill>
              </a:rPr>
              <a:t> </a:t>
            </a:r>
            <a:r>
              <a:rPr lang="uk-UA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Аудитория Уанета. Статистика онлайн-покупок </a:t>
            </a:r>
            <a:r>
              <a:rPr lang="en-US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|</a:t>
            </a:r>
            <a:r>
              <a:rPr lang="ru-RU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n-US" sz="700" dirty="0" err="1" smtClean="0">
                <a:solidFill>
                  <a:schemeClr val="bg2"/>
                </a:solidFill>
              </a:rPr>
              <a:t>iForum</a:t>
            </a:r>
            <a:r>
              <a:rPr lang="en-US" sz="700" baseline="0" dirty="0" smtClean="0">
                <a:solidFill>
                  <a:schemeClr val="bg2"/>
                </a:solidFill>
              </a:rPr>
              <a:t> </a:t>
            </a:r>
            <a:r>
              <a:rPr lang="en-US" sz="700" dirty="0" smtClean="0">
                <a:solidFill>
                  <a:schemeClr val="bg2"/>
                </a:solidFill>
              </a:rPr>
              <a:t>2017 </a:t>
            </a:r>
            <a:endParaRPr lang="en-US" sz="700" dirty="0">
              <a:solidFill>
                <a:schemeClr val="bg2"/>
              </a:solidFill>
            </a:endParaRPr>
          </a:p>
        </p:txBody>
      </p:sp>
      <p:pic>
        <p:nvPicPr>
          <p:cNvPr id="66" name="Grafik 7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3888" y="195263"/>
            <a:ext cx="57785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VCT_Marker_ID_4" hidden="1"/>
          <p:cNvSpPr/>
          <p:nvPr userDrawn="1">
            <p:custDataLst>
              <p:tags r:id="rId3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pic>
        <p:nvPicPr>
          <p:cNvPr id="68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9038" y="322263"/>
            <a:ext cx="17907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0" name="Rechteck 58"/>
          <p:cNvSpPr/>
          <p:nvPr userDrawn="1"/>
        </p:nvSpPr>
        <p:spPr bwMode="gray">
          <a:xfrm>
            <a:off x="323850" y="1779588"/>
            <a:ext cx="8496300" cy="71437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1" name="Rechteck 59"/>
          <p:cNvSpPr/>
          <p:nvPr userDrawn="1"/>
        </p:nvSpPr>
        <p:spPr bwMode="gray">
          <a:xfrm>
            <a:off x="323850" y="3148013"/>
            <a:ext cx="8496300" cy="71437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324000" rIns="324000" spcCol="0" rtlCol="0" fromWordArt="0" anchor="ctr" forceAA="0"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09359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gray">
          <a:xfrm>
            <a:off x="323410" y="915566"/>
            <a:ext cx="8496740" cy="28825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376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5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14"/>
          <p:cNvGrpSpPr>
            <a:grpSpLocks/>
          </p:cNvGrpSpPr>
          <p:nvPr userDrawn="1"/>
        </p:nvGrpSpPr>
        <p:grpSpPr bwMode="auto">
          <a:xfrm>
            <a:off x="323850" y="-315913"/>
            <a:ext cx="8496300" cy="215900"/>
            <a:chOff x="323850" y="-531550"/>
            <a:chExt cx="8496740" cy="432060"/>
          </a:xfrm>
        </p:grpSpPr>
        <p:cxnSp>
          <p:nvCxnSpPr>
            <p:cNvPr id="8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2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2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2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2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2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uppieren 27"/>
          <p:cNvGrpSpPr>
            <a:grpSpLocks/>
          </p:cNvGrpSpPr>
          <p:nvPr/>
        </p:nvGrpSpPr>
        <p:grpSpPr bwMode="auto">
          <a:xfrm>
            <a:off x="323850" y="5235575"/>
            <a:ext cx="8496300" cy="215900"/>
            <a:chOff x="323850" y="-531550"/>
            <a:chExt cx="8496740" cy="432060"/>
          </a:xfrm>
        </p:grpSpPr>
        <p:cxnSp>
          <p:nvCxnSpPr>
            <p:cNvPr id="22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3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uppieren 7"/>
          <p:cNvGrpSpPr>
            <a:grpSpLocks/>
          </p:cNvGrpSpPr>
          <p:nvPr userDrawn="1"/>
        </p:nvGrpSpPr>
        <p:grpSpPr bwMode="auto">
          <a:xfrm>
            <a:off x="9251950" y="195263"/>
            <a:ext cx="217488" cy="4752975"/>
            <a:chOff x="9252514" y="195486"/>
            <a:chExt cx="216166" cy="4752594"/>
          </a:xfrm>
        </p:grpSpPr>
        <p:cxnSp>
          <p:nvCxnSpPr>
            <p:cNvPr id="35" name="Gerade Verbindung 47"/>
            <p:cNvCxnSpPr/>
            <p:nvPr userDrawn="1"/>
          </p:nvCxnSpPr>
          <p:spPr bwMode="gray">
            <a:xfrm>
              <a:off x="9252514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48"/>
            <p:cNvCxnSpPr/>
            <p:nvPr userDrawn="1"/>
          </p:nvCxnSpPr>
          <p:spPr bwMode="gray">
            <a:xfrm>
              <a:off x="9252514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49"/>
            <p:cNvCxnSpPr/>
            <p:nvPr userDrawn="1"/>
          </p:nvCxnSpPr>
          <p:spPr bwMode="gray">
            <a:xfrm>
              <a:off x="9252514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50"/>
            <p:cNvCxnSpPr/>
            <p:nvPr userDrawn="1"/>
          </p:nvCxnSpPr>
          <p:spPr bwMode="gray">
            <a:xfrm>
              <a:off x="9252514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51"/>
            <p:cNvCxnSpPr/>
            <p:nvPr userDrawn="1"/>
          </p:nvCxnSpPr>
          <p:spPr bwMode="gray">
            <a:xfrm>
              <a:off x="9252514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52"/>
            <p:cNvCxnSpPr/>
            <p:nvPr userDrawn="1"/>
          </p:nvCxnSpPr>
          <p:spPr bwMode="gray">
            <a:xfrm>
              <a:off x="9252514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53"/>
            <p:cNvCxnSpPr/>
            <p:nvPr userDrawn="1"/>
          </p:nvCxnSpPr>
          <p:spPr bwMode="gray">
            <a:xfrm>
              <a:off x="9252514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54"/>
            <p:cNvCxnSpPr/>
            <p:nvPr userDrawn="1"/>
          </p:nvCxnSpPr>
          <p:spPr bwMode="gray">
            <a:xfrm>
              <a:off x="9252514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55"/>
            <p:cNvCxnSpPr/>
            <p:nvPr userDrawn="1"/>
          </p:nvCxnSpPr>
          <p:spPr bwMode="gray">
            <a:xfrm>
              <a:off x="9252514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56"/>
            <p:cNvCxnSpPr/>
            <p:nvPr userDrawn="1"/>
          </p:nvCxnSpPr>
          <p:spPr bwMode="gray">
            <a:xfrm>
              <a:off x="9252514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57"/>
            <p:cNvCxnSpPr/>
            <p:nvPr userDrawn="1"/>
          </p:nvCxnSpPr>
          <p:spPr bwMode="gray">
            <a:xfrm>
              <a:off x="9252514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58"/>
            <p:cNvCxnSpPr/>
            <p:nvPr userDrawn="1"/>
          </p:nvCxnSpPr>
          <p:spPr bwMode="gray">
            <a:xfrm>
              <a:off x="9252514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59"/>
            <p:cNvCxnSpPr/>
            <p:nvPr userDrawn="1"/>
          </p:nvCxnSpPr>
          <p:spPr bwMode="gray">
            <a:xfrm>
              <a:off x="9252514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81"/>
            <p:cNvCxnSpPr/>
            <p:nvPr userDrawn="1"/>
          </p:nvCxnSpPr>
          <p:spPr bwMode="gray">
            <a:xfrm>
              <a:off x="9252514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82"/>
            <p:cNvCxnSpPr/>
            <p:nvPr userDrawn="1"/>
          </p:nvCxnSpPr>
          <p:spPr bwMode="gray">
            <a:xfrm>
              <a:off x="9252514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85"/>
            <p:cNvCxnSpPr/>
            <p:nvPr userDrawn="1"/>
          </p:nvCxnSpPr>
          <p:spPr bwMode="gray">
            <a:xfrm>
              <a:off x="9252514" y="141935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uppieren 63"/>
          <p:cNvGrpSpPr>
            <a:grpSpLocks/>
          </p:cNvGrpSpPr>
          <p:nvPr/>
        </p:nvGrpSpPr>
        <p:grpSpPr bwMode="auto">
          <a:xfrm>
            <a:off x="-325438" y="195263"/>
            <a:ext cx="217488" cy="4752975"/>
            <a:chOff x="9252650" y="195486"/>
            <a:chExt cx="216166" cy="4752594"/>
          </a:xfrm>
        </p:grpSpPr>
        <p:cxnSp>
          <p:nvCxnSpPr>
            <p:cNvPr id="52" name="Gerade Verbindung 64"/>
            <p:cNvCxnSpPr/>
            <p:nvPr userDrawn="1"/>
          </p:nvCxnSpPr>
          <p:spPr bwMode="gray">
            <a:xfrm>
              <a:off x="9252650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66"/>
            <p:cNvCxnSpPr/>
            <p:nvPr userDrawn="1"/>
          </p:nvCxnSpPr>
          <p:spPr bwMode="gray">
            <a:xfrm>
              <a:off x="9252650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67"/>
            <p:cNvCxnSpPr/>
            <p:nvPr userDrawn="1"/>
          </p:nvCxnSpPr>
          <p:spPr bwMode="gray">
            <a:xfrm>
              <a:off x="9252650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68"/>
            <p:cNvCxnSpPr/>
            <p:nvPr userDrawn="1"/>
          </p:nvCxnSpPr>
          <p:spPr bwMode="gray">
            <a:xfrm>
              <a:off x="9252650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69"/>
            <p:cNvCxnSpPr/>
            <p:nvPr userDrawn="1"/>
          </p:nvCxnSpPr>
          <p:spPr bwMode="gray">
            <a:xfrm>
              <a:off x="9252650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70"/>
            <p:cNvCxnSpPr/>
            <p:nvPr userDrawn="1"/>
          </p:nvCxnSpPr>
          <p:spPr bwMode="gray">
            <a:xfrm>
              <a:off x="9252650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71"/>
            <p:cNvCxnSpPr/>
            <p:nvPr userDrawn="1"/>
          </p:nvCxnSpPr>
          <p:spPr bwMode="gray">
            <a:xfrm>
              <a:off x="9252650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72"/>
            <p:cNvCxnSpPr/>
            <p:nvPr userDrawn="1"/>
          </p:nvCxnSpPr>
          <p:spPr bwMode="gray">
            <a:xfrm>
              <a:off x="9252650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73"/>
            <p:cNvCxnSpPr/>
            <p:nvPr userDrawn="1"/>
          </p:nvCxnSpPr>
          <p:spPr bwMode="gray">
            <a:xfrm>
              <a:off x="9252650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74"/>
            <p:cNvCxnSpPr/>
            <p:nvPr userDrawn="1"/>
          </p:nvCxnSpPr>
          <p:spPr bwMode="gray">
            <a:xfrm>
              <a:off x="9252650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75"/>
            <p:cNvCxnSpPr/>
            <p:nvPr userDrawn="1"/>
          </p:nvCxnSpPr>
          <p:spPr bwMode="gray">
            <a:xfrm>
              <a:off x="9252650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76"/>
            <p:cNvCxnSpPr/>
            <p:nvPr userDrawn="1"/>
          </p:nvCxnSpPr>
          <p:spPr bwMode="gray">
            <a:xfrm>
              <a:off x="9252650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77"/>
            <p:cNvCxnSpPr/>
            <p:nvPr userDrawn="1"/>
          </p:nvCxnSpPr>
          <p:spPr bwMode="gray">
            <a:xfrm>
              <a:off x="9252650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80"/>
            <p:cNvCxnSpPr/>
            <p:nvPr userDrawn="1"/>
          </p:nvCxnSpPr>
          <p:spPr bwMode="gray">
            <a:xfrm>
              <a:off x="9252650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83"/>
            <p:cNvCxnSpPr/>
            <p:nvPr userDrawn="1"/>
          </p:nvCxnSpPr>
          <p:spPr bwMode="gray">
            <a:xfrm>
              <a:off x="9252650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84"/>
            <p:cNvCxnSpPr/>
            <p:nvPr userDrawn="1"/>
          </p:nvCxnSpPr>
          <p:spPr bwMode="gray">
            <a:xfrm>
              <a:off x="9252650" y="141300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Rechteck 65"/>
          <p:cNvSpPr>
            <a:spLocks noChangeArrowheads="1"/>
          </p:cNvSpPr>
          <p:nvPr/>
        </p:nvSpPr>
        <p:spPr bwMode="gray">
          <a:xfrm>
            <a:off x="7524750" y="4948238"/>
            <a:ext cx="1295400" cy="1444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05B8A7EB-3FBD-4175-B255-F1A1C7A3D59B}" type="slidenum">
              <a:rPr lang="en-US" altLang="uk-UA" sz="800" smtClean="0">
                <a:solidFill>
                  <a:schemeClr val="bg2"/>
                </a:solidFill>
              </a:rPr>
              <a:pPr algn="r" eaLnBrk="1" hangingPunct="1">
                <a:defRPr/>
              </a:pPr>
              <a:t>‹#›</a:t>
            </a:fld>
            <a:endParaRPr lang="en-US" altLang="uk-UA" sz="800" smtClean="0">
              <a:solidFill>
                <a:schemeClr val="bg2"/>
              </a:solidFill>
            </a:endParaRPr>
          </a:p>
        </p:txBody>
      </p:sp>
      <p:sp>
        <p:nvSpPr>
          <p:cNvPr id="6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0" tIns="0" rIns="0" bIns="0" anchor="ctr"/>
          <a:lstStyle/>
          <a:p>
            <a:pPr marL="0" marR="0" lvl="8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2"/>
                </a:solidFill>
              </a:rPr>
              <a:t>© GfK </a:t>
            </a:r>
            <a:r>
              <a:rPr lang="ru-RU" sz="700" dirty="0" smtClean="0">
                <a:solidFill>
                  <a:schemeClr val="bg2"/>
                </a:solidFill>
              </a:rPr>
              <a:t>25 мая 2017 </a:t>
            </a:r>
            <a:r>
              <a:rPr lang="en-US" sz="700" dirty="0" smtClean="0">
                <a:solidFill>
                  <a:schemeClr val="bg2"/>
                </a:solidFill>
              </a:rPr>
              <a:t>| </a:t>
            </a:r>
            <a:r>
              <a:rPr lang="ru-RU" sz="700" dirty="0" smtClean="0">
                <a:solidFill>
                  <a:schemeClr val="bg2"/>
                </a:solidFill>
              </a:rPr>
              <a:t>Осадчий А. </a:t>
            </a:r>
            <a:r>
              <a:rPr lang="en-US" sz="700" dirty="0" smtClean="0">
                <a:solidFill>
                  <a:schemeClr val="bg2"/>
                </a:solidFill>
              </a:rPr>
              <a:t>|</a:t>
            </a:r>
            <a:r>
              <a:rPr lang="ru-RU" sz="700" dirty="0" smtClean="0">
                <a:solidFill>
                  <a:schemeClr val="bg2"/>
                </a:solidFill>
              </a:rPr>
              <a:t> </a:t>
            </a:r>
            <a:r>
              <a:rPr lang="uk-UA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Аудитория Уанета. Статистика онлайн-покупок </a:t>
            </a:r>
            <a:r>
              <a:rPr lang="en-US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|</a:t>
            </a:r>
            <a:r>
              <a:rPr lang="ru-RU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n-US" sz="700" dirty="0" err="1" smtClean="0">
                <a:solidFill>
                  <a:schemeClr val="bg2"/>
                </a:solidFill>
              </a:rPr>
              <a:t>iForum</a:t>
            </a:r>
            <a:r>
              <a:rPr lang="en-US" sz="700" baseline="0" dirty="0" smtClean="0">
                <a:solidFill>
                  <a:schemeClr val="bg2"/>
                </a:solidFill>
              </a:rPr>
              <a:t> </a:t>
            </a:r>
            <a:r>
              <a:rPr lang="en-US" sz="700" dirty="0" smtClean="0">
                <a:solidFill>
                  <a:schemeClr val="bg2"/>
                </a:solidFill>
              </a:rPr>
              <a:t>2017 </a:t>
            </a:r>
            <a:endParaRPr lang="en-US" sz="700" dirty="0">
              <a:solidFill>
                <a:schemeClr val="bg2"/>
              </a:solidFill>
            </a:endParaRPr>
          </a:p>
        </p:txBody>
      </p:sp>
      <p:pic>
        <p:nvPicPr>
          <p:cNvPr id="70" name="Grafik 7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3888" y="195263"/>
            <a:ext cx="57785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VCT_Marker_ID_4" hidden="1"/>
          <p:cNvSpPr/>
          <p:nvPr userDrawn="1">
            <p:custDataLst>
              <p:tags r:id="rId3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73" name="Object 86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57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/>
          </p:nvPr>
        </p:nvSpPr>
        <p:spPr bwMode="gray">
          <a:xfrm>
            <a:off x="323410" y="915521"/>
            <a:ext cx="8497180" cy="28804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74" name="Picture 73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49" t="38459" r="28191" b="44228"/>
          <a:stretch/>
        </p:blipFill>
        <p:spPr>
          <a:xfrm>
            <a:off x="6339395" y="282314"/>
            <a:ext cx="1810353" cy="41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644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/>
          </p:nvPr>
        </p:nvSpPr>
        <p:spPr bwMode="gray">
          <a:xfrm>
            <a:off x="323410" y="915566"/>
            <a:ext cx="8496740" cy="28825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61044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3.jp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w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4" hidden="1"/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0" y="195263"/>
            <a:ext cx="6408738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uk-UA" smtClean="0"/>
              <a:t>Click to add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 bwMode="gray">
          <a:xfrm>
            <a:off x="323850" y="915988"/>
            <a:ext cx="8496300" cy="381635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029" name="Gruppieren 14"/>
          <p:cNvGrpSpPr>
            <a:grpSpLocks/>
          </p:cNvGrpSpPr>
          <p:nvPr userDrawn="1"/>
        </p:nvGrpSpPr>
        <p:grpSpPr bwMode="auto">
          <a:xfrm>
            <a:off x="323850" y="-315913"/>
            <a:ext cx="8496300" cy="21590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0" name="Gruppieren 27"/>
          <p:cNvGrpSpPr>
            <a:grpSpLocks/>
          </p:cNvGrpSpPr>
          <p:nvPr/>
        </p:nvGrpSpPr>
        <p:grpSpPr bwMode="auto">
          <a:xfrm>
            <a:off x="323850" y="5235575"/>
            <a:ext cx="8496300" cy="21590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1" name="Gruppieren 7"/>
          <p:cNvGrpSpPr>
            <a:grpSpLocks/>
          </p:cNvGrpSpPr>
          <p:nvPr userDrawn="1"/>
        </p:nvGrpSpPr>
        <p:grpSpPr bwMode="auto">
          <a:xfrm>
            <a:off x="9251950" y="195263"/>
            <a:ext cx="217488" cy="4752975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514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514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514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514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514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514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514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514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514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514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514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514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514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14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514" y="141935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2" name="Gruppieren 63"/>
          <p:cNvGrpSpPr>
            <a:grpSpLocks/>
          </p:cNvGrpSpPr>
          <p:nvPr/>
        </p:nvGrpSpPr>
        <p:grpSpPr bwMode="auto">
          <a:xfrm>
            <a:off x="-325438" y="195263"/>
            <a:ext cx="217488" cy="4752975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615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70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362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8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53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8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431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8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332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84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233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197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650" y="1274899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650" y="195486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650" y="1413000"/>
              <a:ext cx="21616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3" name="Rechteck 65"/>
          <p:cNvSpPr>
            <a:spLocks noChangeArrowheads="1"/>
          </p:cNvSpPr>
          <p:nvPr/>
        </p:nvSpPr>
        <p:spPr bwMode="gray">
          <a:xfrm>
            <a:off x="7524750" y="4948238"/>
            <a:ext cx="1295400" cy="1444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58F7B0C4-EEEE-489A-8063-9E5222C24F4D}" type="slidenum">
              <a:rPr lang="en-US" altLang="uk-UA" sz="800" smtClean="0">
                <a:solidFill>
                  <a:schemeClr val="bg2"/>
                </a:solidFill>
              </a:rPr>
              <a:pPr algn="r" eaLnBrk="1" hangingPunct="1">
                <a:defRPr/>
              </a:pPr>
              <a:t>‹#›</a:t>
            </a:fld>
            <a:endParaRPr lang="en-US" altLang="uk-UA" sz="800" smtClean="0">
              <a:solidFill>
                <a:schemeClr val="bg2"/>
              </a:solidFill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0" tIns="0" rIns="0" bIns="0" anchor="ctr"/>
          <a:lstStyle/>
          <a:p>
            <a:pPr marL="0" marR="0" lvl="8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2"/>
                </a:solidFill>
              </a:rPr>
              <a:t>© </a:t>
            </a:r>
            <a:r>
              <a:rPr lang="en-US" sz="700" dirty="0" smtClean="0">
                <a:solidFill>
                  <a:schemeClr val="bg2"/>
                </a:solidFill>
              </a:rPr>
              <a:t>GfK </a:t>
            </a:r>
            <a:r>
              <a:rPr lang="ru-RU" sz="700" dirty="0" smtClean="0">
                <a:solidFill>
                  <a:schemeClr val="bg2"/>
                </a:solidFill>
              </a:rPr>
              <a:t>25 мая 2017 </a:t>
            </a:r>
            <a:r>
              <a:rPr lang="en-US" sz="700" dirty="0" smtClean="0">
                <a:solidFill>
                  <a:schemeClr val="bg2"/>
                </a:solidFill>
              </a:rPr>
              <a:t>| </a:t>
            </a:r>
            <a:r>
              <a:rPr lang="ru-RU" sz="700" dirty="0" smtClean="0">
                <a:solidFill>
                  <a:schemeClr val="bg2"/>
                </a:solidFill>
              </a:rPr>
              <a:t>Осадчий А. </a:t>
            </a:r>
            <a:r>
              <a:rPr lang="en-US" sz="700" dirty="0" smtClean="0">
                <a:solidFill>
                  <a:schemeClr val="bg2"/>
                </a:solidFill>
              </a:rPr>
              <a:t>|</a:t>
            </a:r>
            <a:r>
              <a:rPr lang="ru-RU" sz="700" dirty="0" smtClean="0">
                <a:solidFill>
                  <a:schemeClr val="bg2"/>
                </a:solidFill>
              </a:rPr>
              <a:t> </a:t>
            </a:r>
            <a:r>
              <a:rPr lang="uk-UA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Аудитория Уанета. Статистика онлайн-покупок </a:t>
            </a:r>
            <a:r>
              <a:rPr lang="en-US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|</a:t>
            </a:r>
            <a:r>
              <a:rPr lang="ru-RU" sz="700" kern="120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en-US" sz="700" dirty="0" err="1" smtClean="0">
                <a:solidFill>
                  <a:schemeClr val="bg2"/>
                </a:solidFill>
              </a:rPr>
              <a:t>iForum</a:t>
            </a:r>
            <a:r>
              <a:rPr lang="en-US" sz="700" baseline="0" dirty="0" smtClean="0">
                <a:solidFill>
                  <a:schemeClr val="bg2"/>
                </a:solidFill>
              </a:rPr>
              <a:t> </a:t>
            </a:r>
            <a:r>
              <a:rPr lang="en-US" sz="700" dirty="0" smtClean="0">
                <a:solidFill>
                  <a:schemeClr val="bg2"/>
                </a:solidFill>
              </a:rPr>
              <a:t>2017 </a:t>
            </a:r>
            <a:endParaRPr lang="en-US" sz="700" dirty="0">
              <a:solidFill>
                <a:schemeClr val="bg2"/>
              </a:solidFill>
            </a:endParaRPr>
          </a:p>
        </p:txBody>
      </p:sp>
      <p:pic>
        <p:nvPicPr>
          <p:cNvPr id="1035" name="Grafik 75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3888" y="195263"/>
            <a:ext cx="57785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VCT_Marker_ID_4" hidden="1"/>
          <p:cNvSpPr/>
          <p:nvPr userDrawn="1">
            <p:custDataLst>
              <p:tags r:id="rId29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pic>
        <p:nvPicPr>
          <p:cNvPr id="80" name="Picture 79"/>
          <p:cNvPicPr>
            <a:picLocks noChangeAspect="1"/>
          </p:cNvPicPr>
          <p:nvPr userDrawn="1"/>
        </p:nvPicPr>
        <p:blipFill rotWithShape="1"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49" t="38459" r="28191" b="44228"/>
          <a:stretch/>
        </p:blipFill>
        <p:spPr>
          <a:xfrm>
            <a:off x="6339395" y="282314"/>
            <a:ext cx="1810353" cy="41777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  <p:sldLayoutId id="2147483885" r:id="rId7"/>
    <p:sldLayoutId id="2147483900" r:id="rId8"/>
    <p:sldLayoutId id="2147483886" r:id="rId9"/>
    <p:sldLayoutId id="2147483887" r:id="rId10"/>
    <p:sldLayoutId id="2147483901" r:id="rId11"/>
    <p:sldLayoutId id="2147483888" r:id="rId12"/>
    <p:sldLayoutId id="2147483902" r:id="rId13"/>
    <p:sldLayoutId id="2147483903" r:id="rId14"/>
    <p:sldLayoutId id="2147483904" r:id="rId15"/>
    <p:sldLayoutId id="2147483905" r:id="rId16"/>
    <p:sldLayoutId id="2147483889" r:id="rId17"/>
    <p:sldLayoutId id="2147483890" r:id="rId18"/>
    <p:sldLayoutId id="2147483906" r:id="rId19"/>
    <p:sldLayoutId id="2147483940" r:id="rId20"/>
    <p:sldLayoutId id="2147483944" r:id="rId21"/>
    <p:sldLayoutId id="2147483946" r:id="rId22"/>
    <p:sldLayoutId id="2147483948" r:id="rId23"/>
    <p:sldLayoutId id="2147483949" r:id="rId2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9388" algn="l" rtl="0" eaLnBrk="0" fontAlgn="base" hangingPunct="0">
        <a:spcBef>
          <a:spcPts val="3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80975" algn="l" rtl="0" eaLnBrk="0" fontAlgn="base" hangingPunct="0">
        <a:spcBef>
          <a:spcPts val="3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9750" indent="-180975" algn="l" rtl="0" eaLnBrk="0" fontAlgn="base" hangingPunct="0">
        <a:spcBef>
          <a:spcPts val="3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9138" indent="-180975" algn="l" rtl="0" eaLnBrk="0" fontAlgn="base" hangingPunct="0">
        <a:spcBef>
          <a:spcPts val="3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image" Target="../media/image29.emf"/><Relationship Id="rId5" Type="http://schemas.openxmlformats.org/officeDocument/2006/relationships/tags" Target="../tags/tag63.xml"/><Relationship Id="rId10" Type="http://schemas.openxmlformats.org/officeDocument/2006/relationships/slideLayout" Target="../slideLayouts/slideLayout24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30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Layout" Target="../slideLayouts/slideLayout24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tags" Target="../tags/tag42.xml"/><Relationship Id="rId7" Type="http://schemas.openxmlformats.org/officeDocument/2006/relationships/image" Target="../media/image10.jpeg"/><Relationship Id="rId12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14.png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13.png"/><Relationship Id="rId4" Type="http://schemas.openxmlformats.org/officeDocument/2006/relationships/tags" Target="../tags/tag43.xml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1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0.jpeg"/><Relationship Id="rId5" Type="http://schemas.openxmlformats.org/officeDocument/2006/relationships/image" Target="../media/image18.PNG"/><Relationship Id="rId10" Type="http://schemas.openxmlformats.org/officeDocument/2006/relationships/image" Target="../media/image19.png"/><Relationship Id="rId4" Type="http://schemas.openxmlformats.org/officeDocument/2006/relationships/image" Target="../media/image17.PNG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55.xml"/><Relationship Id="rId7" Type="http://schemas.openxmlformats.org/officeDocument/2006/relationships/slideLayout" Target="../slideLayouts/slideLayout24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image" Target="../media/image28.png"/><Relationship Id="rId5" Type="http://schemas.openxmlformats.org/officeDocument/2006/relationships/tags" Target="../tags/tag57.xml"/><Relationship Id="rId10" Type="http://schemas.openxmlformats.org/officeDocument/2006/relationships/image" Target="../media/image27.png"/><Relationship Id="rId4" Type="http://schemas.openxmlformats.org/officeDocument/2006/relationships/tags" Target="../tags/tag56.xml"/><Relationship Id="rId9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7"/>
          <p:cNvGrpSpPr/>
          <p:nvPr>
            <p:custDataLst>
              <p:tags r:id="rId1"/>
            </p:custDataLst>
          </p:nvPr>
        </p:nvGrpSpPr>
        <p:grpSpPr bwMode="gray">
          <a:xfrm>
            <a:off x="539552" y="51470"/>
            <a:ext cx="6855850" cy="5168900"/>
            <a:chOff x="12493625" y="-7221538"/>
            <a:chExt cx="8058151" cy="6075363"/>
          </a:xfrm>
        </p:grpSpPr>
        <p:sp>
          <p:nvSpPr>
            <p:cNvPr id="6" name="Freeform 24"/>
            <p:cNvSpPr>
              <a:spLocks noEditPoints="1"/>
            </p:cNvSpPr>
            <p:nvPr/>
          </p:nvSpPr>
          <p:spPr bwMode="gray">
            <a:xfrm>
              <a:off x="14277975" y="-6459538"/>
              <a:ext cx="4549775" cy="4746625"/>
            </a:xfrm>
            <a:custGeom>
              <a:avLst/>
              <a:gdLst>
                <a:gd name="T0" fmla="*/ 1094 w 1213"/>
                <a:gd name="T1" fmla="*/ 837 h 1266"/>
                <a:gd name="T2" fmla="*/ 1070 w 1213"/>
                <a:gd name="T3" fmla="*/ 989 h 1266"/>
                <a:gd name="T4" fmla="*/ 978 w 1213"/>
                <a:gd name="T5" fmla="*/ 1118 h 1266"/>
                <a:gd name="T6" fmla="*/ 975 w 1213"/>
                <a:gd name="T7" fmla="*/ 1152 h 1266"/>
                <a:gd name="T8" fmla="*/ 830 w 1213"/>
                <a:gd name="T9" fmla="*/ 1173 h 1266"/>
                <a:gd name="T10" fmla="*/ 541 w 1213"/>
                <a:gd name="T11" fmla="*/ 1139 h 1266"/>
                <a:gd name="T12" fmla="*/ 412 w 1213"/>
                <a:gd name="T13" fmla="*/ 1106 h 1266"/>
                <a:gd name="T14" fmla="*/ 250 w 1213"/>
                <a:gd name="T15" fmla="*/ 1096 h 1266"/>
                <a:gd name="T16" fmla="*/ 234 w 1213"/>
                <a:gd name="T17" fmla="*/ 1119 h 1266"/>
                <a:gd name="T18" fmla="*/ 437 w 1213"/>
                <a:gd name="T19" fmla="*/ 1222 h 1266"/>
                <a:gd name="T20" fmla="*/ 453 w 1213"/>
                <a:gd name="T21" fmla="*/ 1251 h 1266"/>
                <a:gd name="T22" fmla="*/ 123 w 1213"/>
                <a:gd name="T23" fmla="*/ 1005 h 1266"/>
                <a:gd name="T24" fmla="*/ 97 w 1213"/>
                <a:gd name="T25" fmla="*/ 969 h 1266"/>
                <a:gd name="T26" fmla="*/ 27 w 1213"/>
                <a:gd name="T27" fmla="*/ 710 h 1266"/>
                <a:gd name="T28" fmla="*/ 69 w 1213"/>
                <a:gd name="T29" fmla="*/ 412 h 1266"/>
                <a:gd name="T30" fmla="*/ 252 w 1213"/>
                <a:gd name="T31" fmla="*/ 173 h 1266"/>
                <a:gd name="T32" fmla="*/ 399 w 1213"/>
                <a:gd name="T33" fmla="*/ 135 h 1266"/>
                <a:gd name="T34" fmla="*/ 529 w 1213"/>
                <a:gd name="T35" fmla="*/ 55 h 1266"/>
                <a:gd name="T36" fmla="*/ 607 w 1213"/>
                <a:gd name="T37" fmla="*/ 49 h 1266"/>
                <a:gd name="T38" fmla="*/ 690 w 1213"/>
                <a:gd name="T39" fmla="*/ 6 h 1266"/>
                <a:gd name="T40" fmla="*/ 1013 w 1213"/>
                <a:gd name="T41" fmla="*/ 177 h 1266"/>
                <a:gd name="T42" fmla="*/ 977 w 1213"/>
                <a:gd name="T43" fmla="*/ 149 h 1266"/>
                <a:gd name="T44" fmla="*/ 1146 w 1213"/>
                <a:gd name="T45" fmla="*/ 410 h 1266"/>
                <a:gd name="T46" fmla="*/ 1171 w 1213"/>
                <a:gd name="T47" fmla="*/ 401 h 1266"/>
                <a:gd name="T48" fmla="*/ 1130 w 1213"/>
                <a:gd name="T49" fmla="*/ 564 h 1266"/>
                <a:gd name="T50" fmla="*/ 1186 w 1213"/>
                <a:gd name="T51" fmla="*/ 558 h 1266"/>
                <a:gd name="T52" fmla="*/ 1191 w 1213"/>
                <a:gd name="T53" fmla="*/ 634 h 1266"/>
                <a:gd name="T54" fmla="*/ 1048 w 1213"/>
                <a:gd name="T55" fmla="*/ 693 h 1266"/>
                <a:gd name="T56" fmla="*/ 819 w 1213"/>
                <a:gd name="T57" fmla="*/ 1206 h 1266"/>
                <a:gd name="T58" fmla="*/ 831 w 1213"/>
                <a:gd name="T59" fmla="*/ 1177 h 1266"/>
                <a:gd name="T60" fmla="*/ 173 w 1213"/>
                <a:gd name="T61" fmla="*/ 204 h 1266"/>
                <a:gd name="T62" fmla="*/ 398 w 1213"/>
                <a:gd name="T63" fmla="*/ 85 h 1266"/>
                <a:gd name="T64" fmla="*/ 251 w 1213"/>
                <a:gd name="T65" fmla="*/ 168 h 1266"/>
                <a:gd name="T66" fmla="*/ 123 w 1213"/>
                <a:gd name="T67" fmla="*/ 262 h 1266"/>
                <a:gd name="T68" fmla="*/ 653 w 1213"/>
                <a:gd name="T69" fmla="*/ 25 h 1266"/>
                <a:gd name="T70" fmla="*/ 531 w 1213"/>
                <a:gd name="T71" fmla="*/ 52 h 1266"/>
                <a:gd name="T72" fmla="*/ 1213 w 1213"/>
                <a:gd name="T73" fmla="*/ 555 h 1266"/>
                <a:gd name="T74" fmla="*/ 1187 w 1213"/>
                <a:gd name="T75" fmla="*/ 441 h 1266"/>
                <a:gd name="T76" fmla="*/ 1171 w 1213"/>
                <a:gd name="T77" fmla="*/ 399 h 1266"/>
                <a:gd name="T78" fmla="*/ 978 w 1213"/>
                <a:gd name="T79" fmla="*/ 150 h 1266"/>
                <a:gd name="T80" fmla="*/ 1091 w 1213"/>
                <a:gd name="T81" fmla="*/ 262 h 1266"/>
                <a:gd name="T82" fmla="*/ 1113 w 1213"/>
                <a:gd name="T83" fmla="*/ 246 h 1266"/>
                <a:gd name="T84" fmla="*/ 684 w 1213"/>
                <a:gd name="T85" fmla="*/ 0 h 1266"/>
                <a:gd name="T86" fmla="*/ 653 w 1213"/>
                <a:gd name="T87" fmla="*/ 24 h 1266"/>
                <a:gd name="T88" fmla="*/ 229 w 1213"/>
                <a:gd name="T89" fmla="*/ 152 h 1266"/>
                <a:gd name="T90" fmla="*/ 121 w 1213"/>
                <a:gd name="T91" fmla="*/ 262 h 1266"/>
                <a:gd name="T92" fmla="*/ 121 w 1213"/>
                <a:gd name="T93" fmla="*/ 262 h 1266"/>
                <a:gd name="T94" fmla="*/ 65 w 1213"/>
                <a:gd name="T95" fmla="*/ 409 h 1266"/>
                <a:gd name="T96" fmla="*/ 21 w 1213"/>
                <a:gd name="T97" fmla="*/ 634 h 1266"/>
                <a:gd name="T98" fmla="*/ 0 w 1213"/>
                <a:gd name="T99" fmla="*/ 713 h 1266"/>
                <a:gd name="T100" fmla="*/ 95 w 1213"/>
                <a:gd name="T101" fmla="*/ 970 h 1266"/>
                <a:gd name="T102" fmla="*/ 100 w 1213"/>
                <a:gd name="T103" fmla="*/ 1022 h 1266"/>
                <a:gd name="T104" fmla="*/ 522 w 1213"/>
                <a:gd name="T105" fmla="*/ 1266 h 1266"/>
                <a:gd name="T106" fmla="*/ 527 w 1213"/>
                <a:gd name="T107" fmla="*/ 1239 h 1266"/>
                <a:gd name="T108" fmla="*/ 239 w 1213"/>
                <a:gd name="T109" fmla="*/ 1121 h 1266"/>
                <a:gd name="T110" fmla="*/ 685 w 1213"/>
                <a:gd name="T111" fmla="*/ 1240 h 1266"/>
                <a:gd name="T112" fmla="*/ 820 w 1213"/>
                <a:gd name="T113" fmla="*/ 1207 h 1266"/>
                <a:gd name="T114" fmla="*/ 851 w 1213"/>
                <a:gd name="T115" fmla="*/ 1223 h 1266"/>
                <a:gd name="T116" fmla="*/ 995 w 1213"/>
                <a:gd name="T117" fmla="*/ 1139 h 1266"/>
                <a:gd name="T118" fmla="*/ 1092 w 1213"/>
                <a:gd name="T119" fmla="*/ 1005 h 1266"/>
                <a:gd name="T120" fmla="*/ 1192 w 1213"/>
                <a:gd name="T121" fmla="*/ 557 h 1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13" h="1266">
                  <a:moveTo>
                    <a:pt x="1175" y="768"/>
                  </a:moveTo>
                  <a:cubicBezTo>
                    <a:pt x="1168" y="798"/>
                    <a:pt x="1158" y="828"/>
                    <a:pt x="1147" y="857"/>
                  </a:cubicBezTo>
                  <a:cubicBezTo>
                    <a:pt x="1095" y="835"/>
                    <a:pt x="1095" y="835"/>
                    <a:pt x="1095" y="835"/>
                  </a:cubicBezTo>
                  <a:cubicBezTo>
                    <a:pt x="1094" y="837"/>
                    <a:pt x="1094" y="837"/>
                    <a:pt x="1094" y="837"/>
                  </a:cubicBezTo>
                  <a:cubicBezTo>
                    <a:pt x="1146" y="858"/>
                    <a:pt x="1146" y="858"/>
                    <a:pt x="1146" y="858"/>
                  </a:cubicBezTo>
                  <a:cubicBezTo>
                    <a:pt x="1143" y="865"/>
                    <a:pt x="1141" y="871"/>
                    <a:pt x="1138" y="877"/>
                  </a:cubicBezTo>
                  <a:cubicBezTo>
                    <a:pt x="1135" y="884"/>
                    <a:pt x="1132" y="890"/>
                    <a:pt x="1128" y="896"/>
                  </a:cubicBezTo>
                  <a:cubicBezTo>
                    <a:pt x="1112" y="929"/>
                    <a:pt x="1092" y="960"/>
                    <a:pt x="1070" y="989"/>
                  </a:cubicBezTo>
                  <a:cubicBezTo>
                    <a:pt x="1070" y="990"/>
                    <a:pt x="1070" y="990"/>
                    <a:pt x="1070" y="990"/>
                  </a:cubicBezTo>
                  <a:cubicBezTo>
                    <a:pt x="1090" y="1006"/>
                    <a:pt x="1090" y="1006"/>
                    <a:pt x="1090" y="1006"/>
                  </a:cubicBezTo>
                  <a:cubicBezTo>
                    <a:pt x="1090" y="1006"/>
                    <a:pt x="1090" y="1006"/>
                    <a:pt x="1090" y="1006"/>
                  </a:cubicBezTo>
                  <a:cubicBezTo>
                    <a:pt x="1057" y="1048"/>
                    <a:pt x="1020" y="1086"/>
                    <a:pt x="978" y="1118"/>
                  </a:cubicBezTo>
                  <a:cubicBezTo>
                    <a:pt x="978" y="1118"/>
                    <a:pt x="978" y="1118"/>
                    <a:pt x="978" y="1118"/>
                  </a:cubicBezTo>
                  <a:cubicBezTo>
                    <a:pt x="977" y="1118"/>
                    <a:pt x="977" y="1118"/>
                    <a:pt x="977" y="1118"/>
                  </a:cubicBezTo>
                  <a:cubicBezTo>
                    <a:pt x="993" y="1139"/>
                    <a:pt x="993" y="1139"/>
                    <a:pt x="993" y="1139"/>
                  </a:cubicBezTo>
                  <a:cubicBezTo>
                    <a:pt x="987" y="1144"/>
                    <a:pt x="981" y="1148"/>
                    <a:pt x="975" y="1152"/>
                  </a:cubicBezTo>
                  <a:cubicBezTo>
                    <a:pt x="969" y="1157"/>
                    <a:pt x="962" y="1161"/>
                    <a:pt x="956" y="1166"/>
                  </a:cubicBezTo>
                  <a:cubicBezTo>
                    <a:pt x="923" y="1187"/>
                    <a:pt x="888" y="1206"/>
                    <a:pt x="851" y="1221"/>
                  </a:cubicBezTo>
                  <a:cubicBezTo>
                    <a:pt x="831" y="1173"/>
                    <a:pt x="831" y="1173"/>
                    <a:pt x="831" y="1173"/>
                  </a:cubicBezTo>
                  <a:cubicBezTo>
                    <a:pt x="830" y="1173"/>
                    <a:pt x="830" y="1173"/>
                    <a:pt x="830" y="1173"/>
                  </a:cubicBezTo>
                  <a:cubicBezTo>
                    <a:pt x="830" y="1173"/>
                    <a:pt x="830" y="1173"/>
                    <a:pt x="830" y="1173"/>
                  </a:cubicBezTo>
                  <a:cubicBezTo>
                    <a:pt x="761" y="1202"/>
                    <a:pt x="686" y="1218"/>
                    <a:pt x="607" y="1218"/>
                  </a:cubicBezTo>
                  <a:cubicBezTo>
                    <a:pt x="581" y="1218"/>
                    <a:pt x="556" y="1216"/>
                    <a:pt x="531" y="1213"/>
                  </a:cubicBezTo>
                  <a:cubicBezTo>
                    <a:pt x="541" y="1139"/>
                    <a:pt x="541" y="1139"/>
                    <a:pt x="541" y="1139"/>
                  </a:cubicBezTo>
                  <a:cubicBezTo>
                    <a:pt x="539" y="1139"/>
                    <a:pt x="539" y="1139"/>
                    <a:pt x="539" y="1139"/>
                  </a:cubicBezTo>
                  <a:cubicBezTo>
                    <a:pt x="529" y="1213"/>
                    <a:pt x="529" y="1213"/>
                    <a:pt x="529" y="1213"/>
                  </a:cubicBezTo>
                  <a:cubicBezTo>
                    <a:pt x="478" y="1206"/>
                    <a:pt x="429" y="1193"/>
                    <a:pt x="383" y="1174"/>
                  </a:cubicBezTo>
                  <a:cubicBezTo>
                    <a:pt x="412" y="1106"/>
                    <a:pt x="412" y="1106"/>
                    <a:pt x="412" y="1106"/>
                  </a:cubicBezTo>
                  <a:cubicBezTo>
                    <a:pt x="410" y="1105"/>
                    <a:pt x="410" y="1105"/>
                    <a:pt x="410" y="1105"/>
                  </a:cubicBezTo>
                  <a:cubicBezTo>
                    <a:pt x="382" y="1173"/>
                    <a:pt x="382" y="1173"/>
                    <a:pt x="382" y="1173"/>
                  </a:cubicBezTo>
                  <a:cubicBezTo>
                    <a:pt x="336" y="1154"/>
                    <a:pt x="293" y="1129"/>
                    <a:pt x="253" y="1099"/>
                  </a:cubicBezTo>
                  <a:cubicBezTo>
                    <a:pt x="252" y="1098"/>
                    <a:pt x="251" y="1097"/>
                    <a:pt x="250" y="1096"/>
                  </a:cubicBezTo>
                  <a:cubicBezTo>
                    <a:pt x="250" y="1096"/>
                    <a:pt x="250" y="1096"/>
                    <a:pt x="250" y="1096"/>
                  </a:cubicBezTo>
                  <a:cubicBezTo>
                    <a:pt x="249" y="1097"/>
                    <a:pt x="249" y="1097"/>
                    <a:pt x="249" y="1097"/>
                  </a:cubicBezTo>
                  <a:cubicBezTo>
                    <a:pt x="233" y="1118"/>
                    <a:pt x="233" y="1118"/>
                    <a:pt x="233" y="1118"/>
                  </a:cubicBezTo>
                  <a:cubicBezTo>
                    <a:pt x="234" y="1119"/>
                    <a:pt x="234" y="1119"/>
                    <a:pt x="234" y="1119"/>
                  </a:cubicBezTo>
                  <a:cubicBezTo>
                    <a:pt x="234" y="1119"/>
                    <a:pt x="234" y="1119"/>
                    <a:pt x="234" y="1119"/>
                  </a:cubicBezTo>
                  <a:cubicBezTo>
                    <a:pt x="234" y="1119"/>
                    <a:pt x="234" y="1119"/>
                    <a:pt x="234" y="1119"/>
                  </a:cubicBezTo>
                  <a:cubicBezTo>
                    <a:pt x="234" y="1119"/>
                    <a:pt x="234" y="1119"/>
                    <a:pt x="234" y="1119"/>
                  </a:cubicBezTo>
                  <a:cubicBezTo>
                    <a:pt x="294" y="1165"/>
                    <a:pt x="363" y="1200"/>
                    <a:pt x="437" y="1222"/>
                  </a:cubicBezTo>
                  <a:cubicBezTo>
                    <a:pt x="452" y="1226"/>
                    <a:pt x="466" y="1229"/>
                    <a:pt x="481" y="1233"/>
                  </a:cubicBezTo>
                  <a:cubicBezTo>
                    <a:pt x="496" y="1236"/>
                    <a:pt x="511" y="1238"/>
                    <a:pt x="526" y="1240"/>
                  </a:cubicBezTo>
                  <a:cubicBezTo>
                    <a:pt x="523" y="1264"/>
                    <a:pt x="523" y="1264"/>
                    <a:pt x="523" y="1264"/>
                  </a:cubicBezTo>
                  <a:cubicBezTo>
                    <a:pt x="499" y="1261"/>
                    <a:pt x="475" y="1257"/>
                    <a:pt x="453" y="1251"/>
                  </a:cubicBezTo>
                  <a:cubicBezTo>
                    <a:pt x="430" y="1245"/>
                    <a:pt x="407" y="1238"/>
                    <a:pt x="385" y="1230"/>
                  </a:cubicBezTo>
                  <a:cubicBezTo>
                    <a:pt x="272" y="1188"/>
                    <a:pt x="174" y="1115"/>
                    <a:pt x="102" y="1021"/>
                  </a:cubicBezTo>
                  <a:cubicBezTo>
                    <a:pt x="123" y="1005"/>
                    <a:pt x="123" y="1005"/>
                    <a:pt x="123" y="1005"/>
                  </a:cubicBezTo>
                  <a:cubicBezTo>
                    <a:pt x="123" y="1005"/>
                    <a:pt x="123" y="1005"/>
                    <a:pt x="123" y="1005"/>
                  </a:cubicBezTo>
                  <a:cubicBezTo>
                    <a:pt x="179" y="962"/>
                    <a:pt x="179" y="962"/>
                    <a:pt x="179" y="962"/>
                  </a:cubicBezTo>
                  <a:cubicBezTo>
                    <a:pt x="178" y="961"/>
                    <a:pt x="178" y="961"/>
                    <a:pt x="178" y="961"/>
                  </a:cubicBezTo>
                  <a:cubicBezTo>
                    <a:pt x="122" y="1004"/>
                    <a:pt x="122" y="1004"/>
                    <a:pt x="122" y="1004"/>
                  </a:cubicBezTo>
                  <a:cubicBezTo>
                    <a:pt x="113" y="993"/>
                    <a:pt x="104" y="981"/>
                    <a:pt x="97" y="969"/>
                  </a:cubicBezTo>
                  <a:cubicBezTo>
                    <a:pt x="88" y="957"/>
                    <a:pt x="81" y="944"/>
                    <a:pt x="74" y="931"/>
                  </a:cubicBezTo>
                  <a:cubicBezTo>
                    <a:pt x="37" y="865"/>
                    <a:pt x="12" y="792"/>
                    <a:pt x="1" y="714"/>
                  </a:cubicBezTo>
                  <a:cubicBezTo>
                    <a:pt x="27" y="711"/>
                    <a:pt x="27" y="711"/>
                    <a:pt x="27" y="711"/>
                  </a:cubicBezTo>
                  <a:cubicBezTo>
                    <a:pt x="27" y="710"/>
                    <a:pt x="27" y="710"/>
                    <a:pt x="27" y="710"/>
                  </a:cubicBezTo>
                  <a:cubicBezTo>
                    <a:pt x="30" y="710"/>
                    <a:pt x="30" y="710"/>
                    <a:pt x="30" y="710"/>
                  </a:cubicBezTo>
                  <a:cubicBezTo>
                    <a:pt x="30" y="709"/>
                    <a:pt x="30" y="709"/>
                    <a:pt x="30" y="709"/>
                  </a:cubicBezTo>
                  <a:cubicBezTo>
                    <a:pt x="26" y="684"/>
                    <a:pt x="25" y="659"/>
                    <a:pt x="25" y="634"/>
                  </a:cubicBezTo>
                  <a:cubicBezTo>
                    <a:pt x="25" y="555"/>
                    <a:pt x="40" y="480"/>
                    <a:pt x="69" y="412"/>
                  </a:cubicBezTo>
                  <a:cubicBezTo>
                    <a:pt x="107" y="428"/>
                    <a:pt x="107" y="428"/>
                    <a:pt x="107" y="428"/>
                  </a:cubicBezTo>
                  <a:cubicBezTo>
                    <a:pt x="108" y="426"/>
                    <a:pt x="108" y="426"/>
                    <a:pt x="108" y="426"/>
                  </a:cubicBezTo>
                  <a:cubicBezTo>
                    <a:pt x="69" y="410"/>
                    <a:pt x="69" y="410"/>
                    <a:pt x="69" y="410"/>
                  </a:cubicBezTo>
                  <a:cubicBezTo>
                    <a:pt x="109" y="316"/>
                    <a:pt x="172" y="234"/>
                    <a:pt x="252" y="173"/>
                  </a:cubicBezTo>
                  <a:cubicBezTo>
                    <a:pt x="295" y="229"/>
                    <a:pt x="295" y="229"/>
                    <a:pt x="295" y="229"/>
                  </a:cubicBezTo>
                  <a:cubicBezTo>
                    <a:pt x="296" y="228"/>
                    <a:pt x="296" y="228"/>
                    <a:pt x="296" y="228"/>
                  </a:cubicBezTo>
                  <a:cubicBezTo>
                    <a:pt x="279" y="205"/>
                    <a:pt x="279" y="205"/>
                    <a:pt x="279" y="205"/>
                  </a:cubicBezTo>
                  <a:cubicBezTo>
                    <a:pt x="315" y="177"/>
                    <a:pt x="356" y="153"/>
                    <a:pt x="399" y="135"/>
                  </a:cubicBezTo>
                  <a:cubicBezTo>
                    <a:pt x="426" y="200"/>
                    <a:pt x="426" y="200"/>
                    <a:pt x="426" y="200"/>
                  </a:cubicBezTo>
                  <a:cubicBezTo>
                    <a:pt x="427" y="199"/>
                    <a:pt x="427" y="199"/>
                    <a:pt x="427" y="199"/>
                  </a:cubicBezTo>
                  <a:cubicBezTo>
                    <a:pt x="384" y="94"/>
                    <a:pt x="384" y="94"/>
                    <a:pt x="384" y="94"/>
                  </a:cubicBezTo>
                  <a:cubicBezTo>
                    <a:pt x="429" y="75"/>
                    <a:pt x="478" y="61"/>
                    <a:pt x="529" y="55"/>
                  </a:cubicBezTo>
                  <a:cubicBezTo>
                    <a:pt x="539" y="127"/>
                    <a:pt x="539" y="127"/>
                    <a:pt x="539" y="127"/>
                  </a:cubicBezTo>
                  <a:cubicBezTo>
                    <a:pt x="541" y="127"/>
                    <a:pt x="541" y="127"/>
                    <a:pt x="541" y="127"/>
                  </a:cubicBezTo>
                  <a:cubicBezTo>
                    <a:pt x="531" y="54"/>
                    <a:pt x="531" y="54"/>
                    <a:pt x="531" y="54"/>
                  </a:cubicBezTo>
                  <a:cubicBezTo>
                    <a:pt x="556" y="51"/>
                    <a:pt x="581" y="49"/>
                    <a:pt x="607" y="49"/>
                  </a:cubicBezTo>
                  <a:cubicBezTo>
                    <a:pt x="632" y="49"/>
                    <a:pt x="658" y="51"/>
                    <a:pt x="683" y="54"/>
                  </a:cubicBezTo>
                  <a:cubicBezTo>
                    <a:pt x="683" y="54"/>
                    <a:pt x="683" y="54"/>
                    <a:pt x="683" y="54"/>
                  </a:cubicBezTo>
                  <a:cubicBezTo>
                    <a:pt x="683" y="54"/>
                    <a:pt x="683" y="54"/>
                    <a:pt x="683" y="54"/>
                  </a:cubicBezTo>
                  <a:cubicBezTo>
                    <a:pt x="690" y="6"/>
                    <a:pt x="690" y="6"/>
                    <a:pt x="690" y="6"/>
                  </a:cubicBezTo>
                  <a:cubicBezTo>
                    <a:pt x="690" y="6"/>
                    <a:pt x="690" y="6"/>
                    <a:pt x="691" y="6"/>
                  </a:cubicBezTo>
                  <a:cubicBezTo>
                    <a:pt x="860" y="29"/>
                    <a:pt x="1009" y="119"/>
                    <a:pt x="1108" y="248"/>
                  </a:cubicBezTo>
                  <a:cubicBezTo>
                    <a:pt x="1091" y="261"/>
                    <a:pt x="1091" y="261"/>
                    <a:pt x="1091" y="261"/>
                  </a:cubicBezTo>
                  <a:cubicBezTo>
                    <a:pt x="1068" y="230"/>
                    <a:pt x="1042" y="202"/>
                    <a:pt x="1013" y="177"/>
                  </a:cubicBezTo>
                  <a:cubicBezTo>
                    <a:pt x="1008" y="172"/>
                    <a:pt x="1002" y="167"/>
                    <a:pt x="996" y="162"/>
                  </a:cubicBezTo>
                  <a:cubicBezTo>
                    <a:pt x="991" y="157"/>
                    <a:pt x="985" y="153"/>
                    <a:pt x="979" y="148"/>
                  </a:cubicBezTo>
                  <a:cubicBezTo>
                    <a:pt x="978" y="148"/>
                    <a:pt x="978" y="148"/>
                    <a:pt x="978" y="148"/>
                  </a:cubicBezTo>
                  <a:cubicBezTo>
                    <a:pt x="977" y="149"/>
                    <a:pt x="977" y="149"/>
                    <a:pt x="977" y="149"/>
                  </a:cubicBezTo>
                  <a:cubicBezTo>
                    <a:pt x="964" y="166"/>
                    <a:pt x="964" y="166"/>
                    <a:pt x="964" y="166"/>
                  </a:cubicBezTo>
                  <a:cubicBezTo>
                    <a:pt x="924" y="135"/>
                    <a:pt x="879" y="109"/>
                    <a:pt x="832" y="89"/>
                  </a:cubicBezTo>
                  <a:cubicBezTo>
                    <a:pt x="830" y="94"/>
                    <a:pt x="830" y="94"/>
                    <a:pt x="830" y="94"/>
                  </a:cubicBezTo>
                  <a:cubicBezTo>
                    <a:pt x="973" y="153"/>
                    <a:pt x="1087" y="267"/>
                    <a:pt x="1146" y="410"/>
                  </a:cubicBezTo>
                  <a:cubicBezTo>
                    <a:pt x="1146" y="410"/>
                    <a:pt x="1146" y="410"/>
                    <a:pt x="1146" y="410"/>
                  </a:cubicBezTo>
                  <a:cubicBezTo>
                    <a:pt x="1147" y="410"/>
                    <a:pt x="1147" y="410"/>
                    <a:pt x="1147" y="410"/>
                  </a:cubicBezTo>
                  <a:cubicBezTo>
                    <a:pt x="1147" y="410"/>
                    <a:pt x="1147" y="410"/>
                    <a:pt x="1147" y="410"/>
                  </a:cubicBezTo>
                  <a:cubicBezTo>
                    <a:pt x="1171" y="401"/>
                    <a:pt x="1171" y="401"/>
                    <a:pt x="1171" y="401"/>
                  </a:cubicBezTo>
                  <a:cubicBezTo>
                    <a:pt x="1173" y="407"/>
                    <a:pt x="1176" y="414"/>
                    <a:pt x="1178" y="420"/>
                  </a:cubicBezTo>
                  <a:cubicBezTo>
                    <a:pt x="1181" y="427"/>
                    <a:pt x="1184" y="434"/>
                    <a:pt x="1186" y="441"/>
                  </a:cubicBezTo>
                  <a:cubicBezTo>
                    <a:pt x="1198" y="477"/>
                    <a:pt x="1206" y="515"/>
                    <a:pt x="1212" y="553"/>
                  </a:cubicBezTo>
                  <a:cubicBezTo>
                    <a:pt x="1130" y="564"/>
                    <a:pt x="1130" y="564"/>
                    <a:pt x="1130" y="564"/>
                  </a:cubicBezTo>
                  <a:cubicBezTo>
                    <a:pt x="902" y="594"/>
                    <a:pt x="902" y="594"/>
                    <a:pt x="902" y="594"/>
                  </a:cubicBezTo>
                  <a:cubicBezTo>
                    <a:pt x="903" y="596"/>
                    <a:pt x="903" y="596"/>
                    <a:pt x="903" y="596"/>
                  </a:cubicBezTo>
                  <a:cubicBezTo>
                    <a:pt x="1130" y="566"/>
                    <a:pt x="1130" y="566"/>
                    <a:pt x="1130" y="566"/>
                  </a:cubicBezTo>
                  <a:cubicBezTo>
                    <a:pt x="1186" y="558"/>
                    <a:pt x="1186" y="558"/>
                    <a:pt x="1186" y="558"/>
                  </a:cubicBezTo>
                  <a:cubicBezTo>
                    <a:pt x="1186" y="561"/>
                    <a:pt x="1187" y="565"/>
                    <a:pt x="1187" y="568"/>
                  </a:cubicBezTo>
                  <a:cubicBezTo>
                    <a:pt x="1187" y="571"/>
                    <a:pt x="1188" y="575"/>
                    <a:pt x="1188" y="578"/>
                  </a:cubicBezTo>
                  <a:cubicBezTo>
                    <a:pt x="1190" y="597"/>
                    <a:pt x="1191" y="615"/>
                    <a:pt x="1191" y="634"/>
                  </a:cubicBezTo>
                  <a:cubicBezTo>
                    <a:pt x="1191" y="634"/>
                    <a:pt x="1191" y="634"/>
                    <a:pt x="1191" y="634"/>
                  </a:cubicBezTo>
                  <a:cubicBezTo>
                    <a:pt x="1191" y="634"/>
                    <a:pt x="1191" y="634"/>
                    <a:pt x="1191" y="634"/>
                  </a:cubicBezTo>
                  <a:cubicBezTo>
                    <a:pt x="1191" y="659"/>
                    <a:pt x="1189" y="684"/>
                    <a:pt x="1186" y="709"/>
                  </a:cubicBezTo>
                  <a:cubicBezTo>
                    <a:pt x="1049" y="691"/>
                    <a:pt x="1049" y="691"/>
                    <a:pt x="1049" y="691"/>
                  </a:cubicBezTo>
                  <a:cubicBezTo>
                    <a:pt x="1048" y="693"/>
                    <a:pt x="1048" y="693"/>
                    <a:pt x="1048" y="693"/>
                  </a:cubicBezTo>
                  <a:cubicBezTo>
                    <a:pt x="1186" y="711"/>
                    <a:pt x="1186" y="711"/>
                    <a:pt x="1186" y="711"/>
                  </a:cubicBezTo>
                  <a:cubicBezTo>
                    <a:pt x="1184" y="724"/>
                    <a:pt x="1182" y="737"/>
                    <a:pt x="1179" y="749"/>
                  </a:cubicBezTo>
                  <a:cubicBezTo>
                    <a:pt x="1178" y="755"/>
                    <a:pt x="1177" y="761"/>
                    <a:pt x="1175" y="768"/>
                  </a:cubicBezTo>
                  <a:moveTo>
                    <a:pt x="819" y="1206"/>
                  </a:moveTo>
                  <a:cubicBezTo>
                    <a:pt x="813" y="1208"/>
                    <a:pt x="806" y="1211"/>
                    <a:pt x="799" y="1213"/>
                  </a:cubicBezTo>
                  <a:cubicBezTo>
                    <a:pt x="763" y="1225"/>
                    <a:pt x="725" y="1234"/>
                    <a:pt x="687" y="1239"/>
                  </a:cubicBezTo>
                  <a:cubicBezTo>
                    <a:pt x="684" y="1216"/>
                    <a:pt x="684" y="1216"/>
                    <a:pt x="684" y="1216"/>
                  </a:cubicBezTo>
                  <a:cubicBezTo>
                    <a:pt x="735" y="1209"/>
                    <a:pt x="784" y="1196"/>
                    <a:pt x="831" y="1177"/>
                  </a:cubicBezTo>
                  <a:cubicBezTo>
                    <a:pt x="840" y="1198"/>
                    <a:pt x="840" y="1198"/>
                    <a:pt x="840" y="1198"/>
                  </a:cubicBezTo>
                  <a:cubicBezTo>
                    <a:pt x="833" y="1201"/>
                    <a:pt x="826" y="1203"/>
                    <a:pt x="819" y="1206"/>
                  </a:cubicBezTo>
                  <a:moveTo>
                    <a:pt x="123" y="262"/>
                  </a:moveTo>
                  <a:cubicBezTo>
                    <a:pt x="138" y="242"/>
                    <a:pt x="155" y="223"/>
                    <a:pt x="173" y="204"/>
                  </a:cubicBezTo>
                  <a:cubicBezTo>
                    <a:pt x="191" y="186"/>
                    <a:pt x="210" y="169"/>
                    <a:pt x="230" y="153"/>
                  </a:cubicBezTo>
                  <a:cubicBezTo>
                    <a:pt x="314" y="88"/>
                    <a:pt x="415" y="43"/>
                    <a:pt x="526" y="29"/>
                  </a:cubicBezTo>
                  <a:cubicBezTo>
                    <a:pt x="529" y="52"/>
                    <a:pt x="529" y="52"/>
                    <a:pt x="529" y="52"/>
                  </a:cubicBezTo>
                  <a:cubicBezTo>
                    <a:pt x="483" y="58"/>
                    <a:pt x="439" y="69"/>
                    <a:pt x="398" y="85"/>
                  </a:cubicBezTo>
                  <a:cubicBezTo>
                    <a:pt x="389" y="88"/>
                    <a:pt x="380" y="92"/>
                    <a:pt x="372" y="96"/>
                  </a:cubicBezTo>
                  <a:cubicBezTo>
                    <a:pt x="389" y="136"/>
                    <a:pt x="389" y="136"/>
                    <a:pt x="389" y="136"/>
                  </a:cubicBezTo>
                  <a:cubicBezTo>
                    <a:pt x="348" y="153"/>
                    <a:pt x="311" y="176"/>
                    <a:pt x="276" y="202"/>
                  </a:cubicBezTo>
                  <a:cubicBezTo>
                    <a:pt x="251" y="168"/>
                    <a:pt x="251" y="168"/>
                    <a:pt x="251" y="168"/>
                  </a:cubicBezTo>
                  <a:cubicBezTo>
                    <a:pt x="250" y="169"/>
                    <a:pt x="250" y="169"/>
                    <a:pt x="250" y="169"/>
                  </a:cubicBezTo>
                  <a:cubicBezTo>
                    <a:pt x="219" y="193"/>
                    <a:pt x="191" y="219"/>
                    <a:pt x="166" y="248"/>
                  </a:cubicBezTo>
                  <a:cubicBezTo>
                    <a:pt x="158" y="257"/>
                    <a:pt x="150" y="267"/>
                    <a:pt x="142" y="277"/>
                  </a:cubicBezTo>
                  <a:lnTo>
                    <a:pt x="123" y="262"/>
                  </a:lnTo>
                  <a:close/>
                  <a:moveTo>
                    <a:pt x="607" y="23"/>
                  </a:moveTo>
                  <a:cubicBezTo>
                    <a:pt x="607" y="23"/>
                    <a:pt x="607" y="23"/>
                    <a:pt x="607" y="23"/>
                  </a:cubicBezTo>
                  <a:cubicBezTo>
                    <a:pt x="620" y="23"/>
                    <a:pt x="633" y="24"/>
                    <a:pt x="647" y="25"/>
                  </a:cubicBezTo>
                  <a:cubicBezTo>
                    <a:pt x="649" y="25"/>
                    <a:pt x="651" y="25"/>
                    <a:pt x="653" y="25"/>
                  </a:cubicBezTo>
                  <a:cubicBezTo>
                    <a:pt x="662" y="26"/>
                    <a:pt x="671" y="27"/>
                    <a:pt x="681" y="28"/>
                  </a:cubicBezTo>
                  <a:cubicBezTo>
                    <a:pt x="677" y="51"/>
                    <a:pt x="677" y="51"/>
                    <a:pt x="677" y="51"/>
                  </a:cubicBezTo>
                  <a:cubicBezTo>
                    <a:pt x="654" y="48"/>
                    <a:pt x="631" y="47"/>
                    <a:pt x="607" y="47"/>
                  </a:cubicBezTo>
                  <a:cubicBezTo>
                    <a:pt x="581" y="47"/>
                    <a:pt x="556" y="48"/>
                    <a:pt x="531" y="52"/>
                  </a:cubicBezTo>
                  <a:cubicBezTo>
                    <a:pt x="528" y="28"/>
                    <a:pt x="528" y="28"/>
                    <a:pt x="528" y="28"/>
                  </a:cubicBezTo>
                  <a:cubicBezTo>
                    <a:pt x="554" y="25"/>
                    <a:pt x="580" y="23"/>
                    <a:pt x="607" y="23"/>
                  </a:cubicBezTo>
                  <a:close/>
                  <a:moveTo>
                    <a:pt x="1192" y="557"/>
                  </a:moveTo>
                  <a:cubicBezTo>
                    <a:pt x="1213" y="555"/>
                    <a:pt x="1213" y="555"/>
                    <a:pt x="1213" y="555"/>
                  </a:cubicBezTo>
                  <a:cubicBezTo>
                    <a:pt x="1213" y="554"/>
                    <a:pt x="1213" y="554"/>
                    <a:pt x="1213" y="554"/>
                  </a:cubicBezTo>
                  <a:cubicBezTo>
                    <a:pt x="1213" y="554"/>
                    <a:pt x="1213" y="554"/>
                    <a:pt x="1213" y="554"/>
                  </a:cubicBezTo>
                  <a:cubicBezTo>
                    <a:pt x="1213" y="553"/>
                    <a:pt x="1213" y="553"/>
                    <a:pt x="1213" y="553"/>
                  </a:cubicBezTo>
                  <a:cubicBezTo>
                    <a:pt x="1208" y="514"/>
                    <a:pt x="1199" y="477"/>
                    <a:pt x="1187" y="441"/>
                  </a:cubicBezTo>
                  <a:cubicBezTo>
                    <a:pt x="1185" y="434"/>
                    <a:pt x="1182" y="427"/>
                    <a:pt x="1180" y="420"/>
                  </a:cubicBezTo>
                  <a:cubicBezTo>
                    <a:pt x="1177" y="413"/>
                    <a:pt x="1174" y="406"/>
                    <a:pt x="1172" y="399"/>
                  </a:cubicBezTo>
                  <a:cubicBezTo>
                    <a:pt x="1172" y="399"/>
                    <a:pt x="1172" y="399"/>
                    <a:pt x="1172" y="399"/>
                  </a:cubicBezTo>
                  <a:cubicBezTo>
                    <a:pt x="1171" y="399"/>
                    <a:pt x="1171" y="399"/>
                    <a:pt x="1171" y="399"/>
                  </a:cubicBezTo>
                  <a:cubicBezTo>
                    <a:pt x="1171" y="399"/>
                    <a:pt x="1171" y="399"/>
                    <a:pt x="1171" y="399"/>
                  </a:cubicBezTo>
                  <a:cubicBezTo>
                    <a:pt x="1150" y="407"/>
                    <a:pt x="1150" y="407"/>
                    <a:pt x="1150" y="407"/>
                  </a:cubicBezTo>
                  <a:cubicBezTo>
                    <a:pt x="1110" y="312"/>
                    <a:pt x="1046" y="229"/>
                    <a:pt x="965" y="167"/>
                  </a:cubicBezTo>
                  <a:cubicBezTo>
                    <a:pt x="978" y="150"/>
                    <a:pt x="978" y="150"/>
                    <a:pt x="978" y="150"/>
                  </a:cubicBezTo>
                  <a:cubicBezTo>
                    <a:pt x="984" y="154"/>
                    <a:pt x="990" y="159"/>
                    <a:pt x="995" y="163"/>
                  </a:cubicBezTo>
                  <a:cubicBezTo>
                    <a:pt x="1001" y="168"/>
                    <a:pt x="1007" y="173"/>
                    <a:pt x="1012" y="178"/>
                  </a:cubicBezTo>
                  <a:cubicBezTo>
                    <a:pt x="1041" y="203"/>
                    <a:pt x="1067" y="232"/>
                    <a:pt x="1091" y="262"/>
                  </a:cubicBezTo>
                  <a:cubicBezTo>
                    <a:pt x="1091" y="262"/>
                    <a:pt x="1091" y="262"/>
                    <a:pt x="1091" y="262"/>
                  </a:cubicBezTo>
                  <a:cubicBezTo>
                    <a:pt x="1091" y="263"/>
                    <a:pt x="1091" y="263"/>
                    <a:pt x="1091" y="263"/>
                  </a:cubicBezTo>
                  <a:cubicBezTo>
                    <a:pt x="1112" y="246"/>
                    <a:pt x="1112" y="246"/>
                    <a:pt x="1112" y="246"/>
                  </a:cubicBezTo>
                  <a:cubicBezTo>
                    <a:pt x="1113" y="246"/>
                    <a:pt x="1113" y="246"/>
                    <a:pt x="1113" y="246"/>
                  </a:cubicBezTo>
                  <a:cubicBezTo>
                    <a:pt x="1113" y="246"/>
                    <a:pt x="1113" y="246"/>
                    <a:pt x="1113" y="246"/>
                  </a:cubicBezTo>
                  <a:cubicBezTo>
                    <a:pt x="1113" y="246"/>
                    <a:pt x="1113" y="246"/>
                    <a:pt x="1113" y="246"/>
                  </a:cubicBezTo>
                  <a:cubicBezTo>
                    <a:pt x="1112" y="245"/>
                    <a:pt x="1112" y="245"/>
                    <a:pt x="1112" y="245"/>
                  </a:cubicBezTo>
                  <a:cubicBezTo>
                    <a:pt x="1013" y="115"/>
                    <a:pt x="864" y="25"/>
                    <a:pt x="694" y="1"/>
                  </a:cubicBezTo>
                  <a:cubicBezTo>
                    <a:pt x="691" y="1"/>
                    <a:pt x="687" y="1"/>
                    <a:pt x="684" y="0"/>
                  </a:cubicBezTo>
                  <a:cubicBezTo>
                    <a:pt x="684" y="0"/>
                    <a:pt x="684" y="0"/>
                    <a:pt x="684" y="0"/>
                  </a:cubicBezTo>
                  <a:cubicBezTo>
                    <a:pt x="684" y="0"/>
                    <a:pt x="684" y="0"/>
                    <a:pt x="684" y="0"/>
                  </a:cubicBezTo>
                  <a:cubicBezTo>
                    <a:pt x="681" y="26"/>
                    <a:pt x="681" y="26"/>
                    <a:pt x="681" y="26"/>
                  </a:cubicBezTo>
                  <a:cubicBezTo>
                    <a:pt x="672" y="25"/>
                    <a:pt x="662" y="24"/>
                    <a:pt x="653" y="24"/>
                  </a:cubicBezTo>
                  <a:cubicBezTo>
                    <a:pt x="651" y="23"/>
                    <a:pt x="649" y="23"/>
                    <a:pt x="647" y="23"/>
                  </a:cubicBezTo>
                  <a:cubicBezTo>
                    <a:pt x="633" y="22"/>
                    <a:pt x="620" y="22"/>
                    <a:pt x="607" y="22"/>
                  </a:cubicBezTo>
                  <a:cubicBezTo>
                    <a:pt x="607" y="22"/>
                    <a:pt x="607" y="22"/>
                    <a:pt x="607" y="22"/>
                  </a:cubicBezTo>
                  <a:cubicBezTo>
                    <a:pt x="464" y="22"/>
                    <a:pt x="333" y="71"/>
                    <a:pt x="229" y="152"/>
                  </a:cubicBezTo>
                  <a:cubicBezTo>
                    <a:pt x="209" y="168"/>
                    <a:pt x="190" y="185"/>
                    <a:pt x="172" y="203"/>
                  </a:cubicBezTo>
                  <a:cubicBezTo>
                    <a:pt x="153" y="222"/>
                    <a:pt x="137" y="241"/>
                    <a:pt x="121" y="262"/>
                  </a:cubicBezTo>
                  <a:cubicBezTo>
                    <a:pt x="121" y="262"/>
                    <a:pt x="121" y="262"/>
                    <a:pt x="121" y="262"/>
                  </a:cubicBezTo>
                  <a:cubicBezTo>
                    <a:pt x="121" y="262"/>
                    <a:pt x="121" y="262"/>
                    <a:pt x="121" y="262"/>
                  </a:cubicBezTo>
                  <a:cubicBezTo>
                    <a:pt x="121" y="262"/>
                    <a:pt x="121" y="262"/>
                    <a:pt x="121" y="262"/>
                  </a:cubicBezTo>
                  <a:cubicBezTo>
                    <a:pt x="121" y="262"/>
                    <a:pt x="121" y="262"/>
                    <a:pt x="121" y="262"/>
                  </a:cubicBezTo>
                  <a:cubicBezTo>
                    <a:pt x="121" y="262"/>
                    <a:pt x="121" y="262"/>
                    <a:pt x="121" y="262"/>
                  </a:cubicBezTo>
                  <a:cubicBezTo>
                    <a:pt x="121" y="262"/>
                    <a:pt x="121" y="262"/>
                    <a:pt x="121" y="262"/>
                  </a:cubicBezTo>
                  <a:cubicBezTo>
                    <a:pt x="141" y="278"/>
                    <a:pt x="141" y="278"/>
                    <a:pt x="141" y="278"/>
                  </a:cubicBezTo>
                  <a:cubicBezTo>
                    <a:pt x="130" y="293"/>
                    <a:pt x="119" y="308"/>
                    <a:pt x="109" y="324"/>
                  </a:cubicBezTo>
                  <a:cubicBezTo>
                    <a:pt x="92" y="351"/>
                    <a:pt x="78" y="380"/>
                    <a:pt x="65" y="409"/>
                  </a:cubicBezTo>
                  <a:cubicBezTo>
                    <a:pt x="65" y="409"/>
                    <a:pt x="65" y="409"/>
                    <a:pt x="65" y="409"/>
                  </a:cubicBezTo>
                  <a:cubicBezTo>
                    <a:pt x="53" y="438"/>
                    <a:pt x="44" y="468"/>
                    <a:pt x="36" y="499"/>
                  </a:cubicBezTo>
                  <a:cubicBezTo>
                    <a:pt x="35" y="505"/>
                    <a:pt x="34" y="511"/>
                    <a:pt x="32" y="518"/>
                  </a:cubicBezTo>
                  <a:cubicBezTo>
                    <a:pt x="25" y="555"/>
                    <a:pt x="21" y="594"/>
                    <a:pt x="21" y="634"/>
                  </a:cubicBezTo>
                  <a:cubicBezTo>
                    <a:pt x="21" y="634"/>
                    <a:pt x="21" y="634"/>
                    <a:pt x="21" y="634"/>
                  </a:cubicBezTo>
                  <a:cubicBezTo>
                    <a:pt x="21" y="652"/>
                    <a:pt x="22" y="671"/>
                    <a:pt x="23" y="689"/>
                  </a:cubicBezTo>
                  <a:cubicBezTo>
                    <a:pt x="24" y="692"/>
                    <a:pt x="24" y="696"/>
                    <a:pt x="25" y="699"/>
                  </a:cubicBezTo>
                  <a:cubicBezTo>
                    <a:pt x="25" y="703"/>
                    <a:pt x="25" y="706"/>
                    <a:pt x="26" y="709"/>
                  </a:cubicBezTo>
                  <a:cubicBezTo>
                    <a:pt x="0" y="713"/>
                    <a:pt x="0" y="713"/>
                    <a:pt x="0" y="713"/>
                  </a:cubicBezTo>
                  <a:cubicBezTo>
                    <a:pt x="0" y="714"/>
                    <a:pt x="0" y="714"/>
                    <a:pt x="0" y="714"/>
                  </a:cubicBezTo>
                  <a:cubicBezTo>
                    <a:pt x="0" y="714"/>
                    <a:pt x="0" y="714"/>
                    <a:pt x="0" y="714"/>
                  </a:cubicBezTo>
                  <a:cubicBezTo>
                    <a:pt x="10" y="792"/>
                    <a:pt x="35" y="866"/>
                    <a:pt x="72" y="932"/>
                  </a:cubicBezTo>
                  <a:cubicBezTo>
                    <a:pt x="80" y="945"/>
                    <a:pt x="87" y="957"/>
                    <a:pt x="95" y="970"/>
                  </a:cubicBezTo>
                  <a:cubicBezTo>
                    <a:pt x="103" y="982"/>
                    <a:pt x="112" y="994"/>
                    <a:pt x="121" y="1005"/>
                  </a:cubicBezTo>
                  <a:cubicBezTo>
                    <a:pt x="100" y="1021"/>
                    <a:pt x="100" y="1021"/>
                    <a:pt x="100" y="1021"/>
                  </a:cubicBezTo>
                  <a:cubicBezTo>
                    <a:pt x="100" y="1021"/>
                    <a:pt x="100" y="1021"/>
                    <a:pt x="100" y="1021"/>
                  </a:cubicBezTo>
                  <a:cubicBezTo>
                    <a:pt x="100" y="1022"/>
                    <a:pt x="100" y="1022"/>
                    <a:pt x="100" y="1022"/>
                  </a:cubicBezTo>
                  <a:cubicBezTo>
                    <a:pt x="173" y="1116"/>
                    <a:pt x="271" y="1189"/>
                    <a:pt x="384" y="1232"/>
                  </a:cubicBezTo>
                  <a:cubicBezTo>
                    <a:pt x="407" y="1240"/>
                    <a:pt x="429" y="1247"/>
                    <a:pt x="452" y="1253"/>
                  </a:cubicBezTo>
                  <a:cubicBezTo>
                    <a:pt x="475" y="1258"/>
                    <a:pt x="499" y="1263"/>
                    <a:pt x="522" y="1266"/>
                  </a:cubicBezTo>
                  <a:cubicBezTo>
                    <a:pt x="522" y="1266"/>
                    <a:pt x="522" y="1266"/>
                    <a:pt x="522" y="1266"/>
                  </a:cubicBezTo>
                  <a:cubicBezTo>
                    <a:pt x="524" y="1266"/>
                    <a:pt x="524" y="1266"/>
                    <a:pt x="524" y="1266"/>
                  </a:cubicBezTo>
                  <a:cubicBezTo>
                    <a:pt x="527" y="1240"/>
                    <a:pt x="527" y="1240"/>
                    <a:pt x="527" y="1240"/>
                  </a:cubicBezTo>
                  <a:cubicBezTo>
                    <a:pt x="528" y="1239"/>
                    <a:pt x="528" y="1239"/>
                    <a:pt x="528" y="1239"/>
                  </a:cubicBezTo>
                  <a:cubicBezTo>
                    <a:pt x="527" y="1239"/>
                    <a:pt x="527" y="1239"/>
                    <a:pt x="527" y="1239"/>
                  </a:cubicBezTo>
                  <a:cubicBezTo>
                    <a:pt x="527" y="1239"/>
                    <a:pt x="527" y="1239"/>
                    <a:pt x="527" y="1239"/>
                  </a:cubicBezTo>
                  <a:cubicBezTo>
                    <a:pt x="512" y="1237"/>
                    <a:pt x="497" y="1234"/>
                    <a:pt x="482" y="1231"/>
                  </a:cubicBezTo>
                  <a:cubicBezTo>
                    <a:pt x="467" y="1228"/>
                    <a:pt x="452" y="1224"/>
                    <a:pt x="438" y="1220"/>
                  </a:cubicBezTo>
                  <a:cubicBezTo>
                    <a:pt x="365" y="1199"/>
                    <a:pt x="298" y="1165"/>
                    <a:pt x="239" y="1121"/>
                  </a:cubicBezTo>
                  <a:cubicBezTo>
                    <a:pt x="252" y="1102"/>
                    <a:pt x="252" y="1102"/>
                    <a:pt x="252" y="1102"/>
                  </a:cubicBezTo>
                  <a:cubicBezTo>
                    <a:pt x="351" y="1177"/>
                    <a:pt x="473" y="1221"/>
                    <a:pt x="607" y="1221"/>
                  </a:cubicBezTo>
                  <a:cubicBezTo>
                    <a:pt x="632" y="1221"/>
                    <a:pt x="657" y="1220"/>
                    <a:pt x="682" y="1216"/>
                  </a:cubicBezTo>
                  <a:cubicBezTo>
                    <a:pt x="685" y="1240"/>
                    <a:pt x="685" y="1240"/>
                    <a:pt x="685" y="1240"/>
                  </a:cubicBezTo>
                  <a:cubicBezTo>
                    <a:pt x="685" y="1240"/>
                    <a:pt x="685" y="1240"/>
                    <a:pt x="685" y="1240"/>
                  </a:cubicBezTo>
                  <a:cubicBezTo>
                    <a:pt x="686" y="1240"/>
                    <a:pt x="686" y="1240"/>
                    <a:pt x="686" y="1240"/>
                  </a:cubicBezTo>
                  <a:cubicBezTo>
                    <a:pt x="725" y="1235"/>
                    <a:pt x="763" y="1226"/>
                    <a:pt x="799" y="1214"/>
                  </a:cubicBezTo>
                  <a:cubicBezTo>
                    <a:pt x="806" y="1212"/>
                    <a:pt x="813" y="1210"/>
                    <a:pt x="820" y="1207"/>
                  </a:cubicBezTo>
                  <a:cubicBezTo>
                    <a:pt x="827" y="1205"/>
                    <a:pt x="833" y="1202"/>
                    <a:pt x="840" y="1199"/>
                  </a:cubicBezTo>
                  <a:cubicBezTo>
                    <a:pt x="850" y="1223"/>
                    <a:pt x="850" y="1223"/>
                    <a:pt x="850" y="1223"/>
                  </a:cubicBezTo>
                  <a:cubicBezTo>
                    <a:pt x="850" y="1223"/>
                    <a:pt x="850" y="1223"/>
                    <a:pt x="850" y="1223"/>
                  </a:cubicBezTo>
                  <a:cubicBezTo>
                    <a:pt x="851" y="1223"/>
                    <a:pt x="851" y="1223"/>
                    <a:pt x="851" y="1223"/>
                  </a:cubicBezTo>
                  <a:cubicBezTo>
                    <a:pt x="888" y="1208"/>
                    <a:pt x="923" y="1189"/>
                    <a:pt x="957" y="1167"/>
                  </a:cubicBezTo>
                  <a:cubicBezTo>
                    <a:pt x="963" y="1162"/>
                    <a:pt x="969" y="1158"/>
                    <a:pt x="976" y="1154"/>
                  </a:cubicBezTo>
                  <a:cubicBezTo>
                    <a:pt x="982" y="1149"/>
                    <a:pt x="989" y="1144"/>
                    <a:pt x="995" y="1139"/>
                  </a:cubicBezTo>
                  <a:cubicBezTo>
                    <a:pt x="995" y="1139"/>
                    <a:pt x="995" y="1139"/>
                    <a:pt x="995" y="1139"/>
                  </a:cubicBezTo>
                  <a:cubicBezTo>
                    <a:pt x="983" y="1123"/>
                    <a:pt x="983" y="1123"/>
                    <a:pt x="983" y="1123"/>
                  </a:cubicBezTo>
                  <a:cubicBezTo>
                    <a:pt x="1025" y="1091"/>
                    <a:pt x="1063" y="1053"/>
                    <a:pt x="1096" y="1010"/>
                  </a:cubicBezTo>
                  <a:cubicBezTo>
                    <a:pt x="1097" y="1009"/>
                    <a:pt x="1097" y="1009"/>
                    <a:pt x="1097" y="1009"/>
                  </a:cubicBezTo>
                  <a:cubicBezTo>
                    <a:pt x="1092" y="1005"/>
                    <a:pt x="1092" y="1005"/>
                    <a:pt x="1092" y="1005"/>
                  </a:cubicBezTo>
                  <a:cubicBezTo>
                    <a:pt x="1092" y="1005"/>
                    <a:pt x="1092" y="1005"/>
                    <a:pt x="1092" y="1005"/>
                  </a:cubicBezTo>
                  <a:cubicBezTo>
                    <a:pt x="1075" y="992"/>
                    <a:pt x="1075" y="992"/>
                    <a:pt x="1075" y="992"/>
                  </a:cubicBezTo>
                  <a:cubicBezTo>
                    <a:pt x="1152" y="893"/>
                    <a:pt x="1197" y="768"/>
                    <a:pt x="1197" y="634"/>
                  </a:cubicBezTo>
                  <a:cubicBezTo>
                    <a:pt x="1197" y="608"/>
                    <a:pt x="1195" y="582"/>
                    <a:pt x="1192" y="557"/>
                  </a:cubicBezTo>
                </a:path>
              </a:pathLst>
            </a:custGeom>
            <a:solidFill>
              <a:srgbClr val="897A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" name="Freeform 25"/>
            <p:cNvSpPr>
              <a:spLocks noEditPoints="1"/>
            </p:cNvSpPr>
            <p:nvPr/>
          </p:nvSpPr>
          <p:spPr bwMode="gray">
            <a:xfrm>
              <a:off x="13869988" y="-6767513"/>
              <a:ext cx="5343525" cy="5365750"/>
            </a:xfrm>
            <a:custGeom>
              <a:avLst/>
              <a:gdLst>
                <a:gd name="T0" fmla="*/ 1387 w 1425"/>
                <a:gd name="T1" fmla="*/ 716 h 1431"/>
                <a:gd name="T2" fmla="*/ 1362 w 1425"/>
                <a:gd name="T3" fmla="*/ 716 h 1431"/>
                <a:gd name="T4" fmla="*/ 1248 w 1425"/>
                <a:gd name="T5" fmla="*/ 1124 h 1431"/>
                <a:gd name="T6" fmla="*/ 903 w 1425"/>
                <a:gd name="T7" fmla="*/ 1169 h 1431"/>
                <a:gd name="T8" fmla="*/ 802 w 1425"/>
                <a:gd name="T9" fmla="*/ 1383 h 1431"/>
                <a:gd name="T10" fmla="*/ 626 w 1425"/>
                <a:gd name="T11" fmla="*/ 1399 h 1431"/>
                <a:gd name="T12" fmla="*/ 458 w 1425"/>
                <a:gd name="T13" fmla="*/ 1336 h 1431"/>
                <a:gd name="T14" fmla="*/ 173 w 1425"/>
                <a:gd name="T15" fmla="*/ 1143 h 1431"/>
                <a:gd name="T16" fmla="*/ 307 w 1425"/>
                <a:gd name="T17" fmla="*/ 1249 h 1431"/>
                <a:gd name="T18" fmla="*/ 88 w 1425"/>
                <a:gd name="T19" fmla="*/ 863 h 1431"/>
                <a:gd name="T20" fmla="*/ 229 w 1425"/>
                <a:gd name="T21" fmla="*/ 653 h 1431"/>
                <a:gd name="T22" fmla="*/ 120 w 1425"/>
                <a:gd name="T23" fmla="*/ 469 h 1431"/>
                <a:gd name="T24" fmla="*/ 204 w 1425"/>
                <a:gd name="T25" fmla="*/ 324 h 1431"/>
                <a:gd name="T26" fmla="*/ 631 w 1425"/>
                <a:gd name="T27" fmla="*/ 76 h 1431"/>
                <a:gd name="T28" fmla="*/ 716 w 1425"/>
                <a:gd name="T29" fmla="*/ 27 h 1431"/>
                <a:gd name="T30" fmla="*/ 960 w 1425"/>
                <a:gd name="T31" fmla="*/ 127 h 1431"/>
                <a:gd name="T32" fmla="*/ 1292 w 1425"/>
                <a:gd name="T33" fmla="*/ 371 h 1431"/>
                <a:gd name="T34" fmla="*/ 1360 w 1425"/>
                <a:gd name="T35" fmla="*/ 716 h 1431"/>
                <a:gd name="T36" fmla="*/ 1311 w 1425"/>
                <a:gd name="T37" fmla="*/ 963 h 1431"/>
                <a:gd name="T38" fmla="*/ 1389 w 1425"/>
                <a:gd name="T39" fmla="*/ 716 h 1431"/>
                <a:gd name="T40" fmla="*/ 1382 w 1425"/>
                <a:gd name="T41" fmla="*/ 627 h 1431"/>
                <a:gd name="T42" fmla="*/ 1338 w 1425"/>
                <a:gd name="T43" fmla="*/ 458 h 1431"/>
                <a:gd name="T44" fmla="*/ 1140 w 1425"/>
                <a:gd name="T45" fmla="*/ 173 h 1431"/>
                <a:gd name="T46" fmla="*/ 1283 w 1425"/>
                <a:gd name="T47" fmla="*/ 281 h 1431"/>
                <a:gd name="T48" fmla="*/ 1403 w 1425"/>
                <a:gd name="T49" fmla="*/ 670 h 1431"/>
                <a:gd name="T50" fmla="*/ 1399 w 1425"/>
                <a:gd name="T51" fmla="*/ 805 h 1431"/>
                <a:gd name="T52" fmla="*/ 804 w 1425"/>
                <a:gd name="T53" fmla="*/ 1383 h 1431"/>
                <a:gd name="T54" fmla="*/ 50 w 1425"/>
                <a:gd name="T55" fmla="*/ 803 h 1431"/>
                <a:gd name="T56" fmla="*/ 75 w 1425"/>
                <a:gd name="T57" fmla="*/ 632 h 1431"/>
                <a:gd name="T58" fmla="*/ 118 w 1425"/>
                <a:gd name="T59" fmla="*/ 962 h 1431"/>
                <a:gd name="T60" fmla="*/ 1 w 1425"/>
                <a:gd name="T61" fmla="*/ 716 h 1431"/>
                <a:gd name="T62" fmla="*/ 106 w 1425"/>
                <a:gd name="T63" fmla="*/ 501 h 1431"/>
                <a:gd name="T64" fmla="*/ 48 w 1425"/>
                <a:gd name="T65" fmla="*/ 628 h 1431"/>
                <a:gd name="T66" fmla="*/ 7 w 1425"/>
                <a:gd name="T67" fmla="*/ 808 h 1431"/>
                <a:gd name="T68" fmla="*/ 153 w 1425"/>
                <a:gd name="T69" fmla="*/ 275 h 1431"/>
                <a:gd name="T70" fmla="*/ 451 w 1425"/>
                <a:gd name="T71" fmla="*/ 79 h 1431"/>
                <a:gd name="T72" fmla="*/ 482 w 1425"/>
                <a:gd name="T73" fmla="*/ 67 h 1431"/>
                <a:gd name="T74" fmla="*/ 552 w 1425"/>
                <a:gd name="T75" fmla="*/ 20 h 1431"/>
                <a:gd name="T76" fmla="*/ 805 w 1425"/>
                <a:gd name="T77" fmla="*/ 31 h 1431"/>
                <a:gd name="T78" fmla="*/ 1425 w 1425"/>
                <a:gd name="T79" fmla="*/ 808 h 1431"/>
                <a:gd name="T80" fmla="*/ 1405 w 1425"/>
                <a:gd name="T81" fmla="*/ 670 h 1431"/>
                <a:gd name="T82" fmla="*/ 1416 w 1425"/>
                <a:gd name="T83" fmla="*/ 569 h 1431"/>
                <a:gd name="T84" fmla="*/ 1141 w 1425"/>
                <a:gd name="T85" fmla="*/ 172 h 1431"/>
                <a:gd name="T86" fmla="*/ 796 w 1425"/>
                <a:gd name="T87" fmla="*/ 4 h 1431"/>
                <a:gd name="T88" fmla="*/ 441 w 1425"/>
                <a:gd name="T89" fmla="*/ 55 h 1431"/>
                <a:gd name="T90" fmla="*/ 280 w 1425"/>
                <a:gd name="T91" fmla="*/ 148 h 1431"/>
                <a:gd name="T92" fmla="*/ 1 w 1425"/>
                <a:gd name="T93" fmla="*/ 763 h 1431"/>
                <a:gd name="T94" fmla="*/ 292 w 1425"/>
                <a:gd name="T95" fmla="*/ 1259 h 1431"/>
                <a:gd name="T96" fmla="*/ 142 w 1425"/>
                <a:gd name="T97" fmla="*/ 1155 h 1431"/>
                <a:gd name="T98" fmla="*/ 480 w 1425"/>
                <a:gd name="T99" fmla="*/ 1347 h 1431"/>
                <a:gd name="T100" fmla="*/ 625 w 1425"/>
                <a:gd name="T101" fmla="*/ 1400 h 1431"/>
                <a:gd name="T102" fmla="*/ 988 w 1425"/>
                <a:gd name="T103" fmla="*/ 1376 h 1431"/>
                <a:gd name="T104" fmla="*/ 498 w 1425"/>
                <a:gd name="T105" fmla="*/ 1388 h 1431"/>
                <a:gd name="T106" fmla="*/ 494 w 1425"/>
                <a:gd name="T107" fmla="*/ 1396 h 1431"/>
                <a:gd name="T108" fmla="*/ 879 w 1425"/>
                <a:gd name="T109" fmla="*/ 1412 h 1431"/>
                <a:gd name="T110" fmla="*/ 1263 w 1425"/>
                <a:gd name="T111" fmla="*/ 1136 h 1431"/>
                <a:gd name="T112" fmla="*/ 1340 w 1425"/>
                <a:gd name="T113" fmla="*/ 106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25" h="1431">
                  <a:moveTo>
                    <a:pt x="1362" y="716"/>
                  </a:moveTo>
                  <a:cubicBezTo>
                    <a:pt x="1362" y="687"/>
                    <a:pt x="1360" y="659"/>
                    <a:pt x="1356" y="632"/>
                  </a:cubicBezTo>
                  <a:cubicBezTo>
                    <a:pt x="1382" y="629"/>
                    <a:pt x="1382" y="629"/>
                    <a:pt x="1382" y="629"/>
                  </a:cubicBezTo>
                  <a:cubicBezTo>
                    <a:pt x="1383" y="641"/>
                    <a:pt x="1384" y="652"/>
                    <a:pt x="1385" y="664"/>
                  </a:cubicBezTo>
                  <a:cubicBezTo>
                    <a:pt x="1385" y="667"/>
                    <a:pt x="1386" y="669"/>
                    <a:pt x="1386" y="671"/>
                  </a:cubicBezTo>
                  <a:cubicBezTo>
                    <a:pt x="1387" y="686"/>
                    <a:pt x="1387" y="701"/>
                    <a:pt x="1387" y="716"/>
                  </a:cubicBezTo>
                  <a:cubicBezTo>
                    <a:pt x="1387" y="716"/>
                    <a:pt x="1387" y="716"/>
                    <a:pt x="1387" y="716"/>
                  </a:cubicBezTo>
                  <a:cubicBezTo>
                    <a:pt x="1387" y="781"/>
                    <a:pt x="1378" y="845"/>
                    <a:pt x="1360" y="905"/>
                  </a:cubicBezTo>
                  <a:cubicBezTo>
                    <a:pt x="1357" y="916"/>
                    <a:pt x="1353" y="928"/>
                    <a:pt x="1349" y="939"/>
                  </a:cubicBezTo>
                  <a:cubicBezTo>
                    <a:pt x="1345" y="950"/>
                    <a:pt x="1341" y="961"/>
                    <a:pt x="1336" y="972"/>
                  </a:cubicBezTo>
                  <a:cubicBezTo>
                    <a:pt x="1313" y="962"/>
                    <a:pt x="1313" y="962"/>
                    <a:pt x="1313" y="962"/>
                  </a:cubicBezTo>
                  <a:cubicBezTo>
                    <a:pt x="1317" y="952"/>
                    <a:pt x="1321" y="941"/>
                    <a:pt x="1325" y="931"/>
                  </a:cubicBezTo>
                  <a:cubicBezTo>
                    <a:pt x="1329" y="920"/>
                    <a:pt x="1333" y="909"/>
                    <a:pt x="1336" y="897"/>
                  </a:cubicBezTo>
                  <a:cubicBezTo>
                    <a:pt x="1353" y="840"/>
                    <a:pt x="1362" y="779"/>
                    <a:pt x="1362" y="716"/>
                  </a:cubicBezTo>
                  <a:cubicBezTo>
                    <a:pt x="1362" y="716"/>
                    <a:pt x="1362" y="716"/>
                    <a:pt x="1362" y="716"/>
                  </a:cubicBezTo>
                  <a:close/>
                  <a:moveTo>
                    <a:pt x="1339" y="1064"/>
                  </a:moveTo>
                  <a:cubicBezTo>
                    <a:pt x="1331" y="1079"/>
                    <a:pt x="1322" y="1094"/>
                    <a:pt x="1312" y="1108"/>
                  </a:cubicBezTo>
                  <a:cubicBezTo>
                    <a:pt x="1303" y="1123"/>
                    <a:pt x="1293" y="1136"/>
                    <a:pt x="1283" y="1150"/>
                  </a:cubicBezTo>
                  <a:cubicBezTo>
                    <a:pt x="1249" y="1124"/>
                    <a:pt x="1249" y="1124"/>
                    <a:pt x="1249" y="1124"/>
                  </a:cubicBezTo>
                  <a:cubicBezTo>
                    <a:pt x="1248" y="1124"/>
                    <a:pt x="1248" y="1124"/>
                    <a:pt x="1248" y="1124"/>
                  </a:cubicBezTo>
                  <a:cubicBezTo>
                    <a:pt x="1248" y="1124"/>
                    <a:pt x="1248" y="1124"/>
                    <a:pt x="1248" y="1124"/>
                  </a:cubicBezTo>
                  <a:cubicBezTo>
                    <a:pt x="1213" y="1171"/>
                    <a:pt x="1171" y="1212"/>
                    <a:pt x="1125" y="1248"/>
                  </a:cubicBezTo>
                  <a:cubicBezTo>
                    <a:pt x="1015" y="1104"/>
                    <a:pt x="1015" y="1104"/>
                    <a:pt x="1015" y="1104"/>
                  </a:cubicBezTo>
                  <a:cubicBezTo>
                    <a:pt x="1013" y="1105"/>
                    <a:pt x="1013" y="1105"/>
                    <a:pt x="1013" y="1105"/>
                  </a:cubicBezTo>
                  <a:cubicBezTo>
                    <a:pt x="1123" y="1249"/>
                    <a:pt x="1123" y="1249"/>
                    <a:pt x="1123" y="1249"/>
                  </a:cubicBezTo>
                  <a:cubicBezTo>
                    <a:pt x="1078" y="1284"/>
                    <a:pt x="1027" y="1313"/>
                    <a:pt x="973" y="1336"/>
                  </a:cubicBezTo>
                  <a:cubicBezTo>
                    <a:pt x="904" y="1169"/>
                    <a:pt x="904" y="1169"/>
                    <a:pt x="904" y="1169"/>
                  </a:cubicBezTo>
                  <a:cubicBezTo>
                    <a:pt x="903" y="1169"/>
                    <a:pt x="903" y="1169"/>
                    <a:pt x="903" y="1169"/>
                  </a:cubicBezTo>
                  <a:cubicBezTo>
                    <a:pt x="972" y="1336"/>
                    <a:pt x="972" y="1336"/>
                    <a:pt x="972" y="1336"/>
                  </a:cubicBezTo>
                  <a:cubicBezTo>
                    <a:pt x="964" y="1340"/>
                    <a:pt x="957" y="1343"/>
                    <a:pt x="949" y="1345"/>
                  </a:cubicBezTo>
                  <a:cubicBezTo>
                    <a:pt x="926" y="1354"/>
                    <a:pt x="902" y="1361"/>
                    <a:pt x="878" y="1367"/>
                  </a:cubicBezTo>
                  <a:cubicBezTo>
                    <a:pt x="853" y="1374"/>
                    <a:pt x="828" y="1378"/>
                    <a:pt x="803" y="1382"/>
                  </a:cubicBezTo>
                  <a:cubicBezTo>
                    <a:pt x="803" y="1382"/>
                    <a:pt x="803" y="1382"/>
                    <a:pt x="803" y="1382"/>
                  </a:cubicBezTo>
                  <a:cubicBezTo>
                    <a:pt x="802" y="1382"/>
                    <a:pt x="802" y="1382"/>
                    <a:pt x="802" y="1382"/>
                  </a:cubicBezTo>
                  <a:cubicBezTo>
                    <a:pt x="802" y="1383"/>
                    <a:pt x="802" y="1383"/>
                    <a:pt x="802" y="1383"/>
                  </a:cubicBezTo>
                  <a:cubicBezTo>
                    <a:pt x="804" y="1399"/>
                    <a:pt x="804" y="1399"/>
                    <a:pt x="804" y="1399"/>
                  </a:cubicBezTo>
                  <a:cubicBezTo>
                    <a:pt x="775" y="1403"/>
                    <a:pt x="746" y="1404"/>
                    <a:pt x="716" y="1404"/>
                  </a:cubicBezTo>
                  <a:cubicBezTo>
                    <a:pt x="716" y="1404"/>
                    <a:pt x="716" y="1404"/>
                    <a:pt x="716" y="1404"/>
                  </a:cubicBezTo>
                  <a:cubicBezTo>
                    <a:pt x="716" y="1404"/>
                    <a:pt x="716" y="1404"/>
                    <a:pt x="716" y="1404"/>
                  </a:cubicBezTo>
                  <a:cubicBezTo>
                    <a:pt x="694" y="1404"/>
                    <a:pt x="672" y="1403"/>
                    <a:pt x="650" y="1401"/>
                  </a:cubicBezTo>
                  <a:cubicBezTo>
                    <a:pt x="646" y="1401"/>
                    <a:pt x="642" y="1401"/>
                    <a:pt x="638" y="1400"/>
                  </a:cubicBezTo>
                  <a:cubicBezTo>
                    <a:pt x="634" y="1400"/>
                    <a:pt x="630" y="1399"/>
                    <a:pt x="626" y="1399"/>
                  </a:cubicBezTo>
                  <a:cubicBezTo>
                    <a:pt x="628" y="1382"/>
                    <a:pt x="628" y="1382"/>
                    <a:pt x="628" y="1382"/>
                  </a:cubicBezTo>
                  <a:cubicBezTo>
                    <a:pt x="629" y="1382"/>
                    <a:pt x="629" y="1382"/>
                    <a:pt x="629" y="1382"/>
                  </a:cubicBezTo>
                  <a:cubicBezTo>
                    <a:pt x="628" y="1382"/>
                    <a:pt x="628" y="1382"/>
                    <a:pt x="628" y="1382"/>
                  </a:cubicBezTo>
                  <a:cubicBezTo>
                    <a:pt x="585" y="1376"/>
                    <a:pt x="544" y="1366"/>
                    <a:pt x="504" y="1353"/>
                  </a:cubicBezTo>
                  <a:cubicBezTo>
                    <a:pt x="496" y="1351"/>
                    <a:pt x="488" y="1348"/>
                    <a:pt x="481" y="1345"/>
                  </a:cubicBezTo>
                  <a:cubicBezTo>
                    <a:pt x="473" y="1342"/>
                    <a:pt x="466" y="1339"/>
                    <a:pt x="458" y="1336"/>
                  </a:cubicBezTo>
                  <a:cubicBezTo>
                    <a:pt x="458" y="1336"/>
                    <a:pt x="458" y="1336"/>
                    <a:pt x="458" y="1336"/>
                  </a:cubicBezTo>
                  <a:cubicBezTo>
                    <a:pt x="457" y="1336"/>
                    <a:pt x="457" y="1336"/>
                    <a:pt x="457" y="1336"/>
                  </a:cubicBezTo>
                  <a:cubicBezTo>
                    <a:pt x="457" y="1337"/>
                    <a:pt x="457" y="1337"/>
                    <a:pt x="457" y="1337"/>
                  </a:cubicBezTo>
                  <a:cubicBezTo>
                    <a:pt x="441" y="1375"/>
                    <a:pt x="441" y="1375"/>
                    <a:pt x="441" y="1375"/>
                  </a:cubicBezTo>
                  <a:cubicBezTo>
                    <a:pt x="358" y="1340"/>
                    <a:pt x="282" y="1290"/>
                    <a:pt x="218" y="1228"/>
                  </a:cubicBezTo>
                  <a:cubicBezTo>
                    <a:pt x="206" y="1216"/>
                    <a:pt x="194" y="1203"/>
                    <a:pt x="182" y="1190"/>
                  </a:cubicBezTo>
                  <a:cubicBezTo>
                    <a:pt x="173" y="1180"/>
                    <a:pt x="164" y="1170"/>
                    <a:pt x="155" y="1159"/>
                  </a:cubicBezTo>
                  <a:cubicBezTo>
                    <a:pt x="173" y="1143"/>
                    <a:pt x="173" y="1143"/>
                    <a:pt x="173" y="1143"/>
                  </a:cubicBezTo>
                  <a:cubicBezTo>
                    <a:pt x="176" y="1147"/>
                    <a:pt x="180" y="1151"/>
                    <a:pt x="183" y="1155"/>
                  </a:cubicBezTo>
                  <a:cubicBezTo>
                    <a:pt x="188" y="1162"/>
                    <a:pt x="194" y="1168"/>
                    <a:pt x="200" y="1175"/>
                  </a:cubicBezTo>
                  <a:cubicBezTo>
                    <a:pt x="228" y="1207"/>
                    <a:pt x="260" y="1237"/>
                    <a:pt x="295" y="1263"/>
                  </a:cubicBezTo>
                  <a:cubicBezTo>
                    <a:pt x="295" y="1263"/>
                    <a:pt x="295" y="1263"/>
                    <a:pt x="295" y="1263"/>
                  </a:cubicBezTo>
                  <a:cubicBezTo>
                    <a:pt x="295" y="1264"/>
                    <a:pt x="295" y="1264"/>
                    <a:pt x="295" y="1264"/>
                  </a:cubicBezTo>
                  <a:cubicBezTo>
                    <a:pt x="306" y="1249"/>
                    <a:pt x="306" y="1249"/>
                    <a:pt x="306" y="1249"/>
                  </a:cubicBezTo>
                  <a:cubicBezTo>
                    <a:pt x="307" y="1249"/>
                    <a:pt x="307" y="1249"/>
                    <a:pt x="307" y="1249"/>
                  </a:cubicBezTo>
                  <a:cubicBezTo>
                    <a:pt x="306" y="1248"/>
                    <a:pt x="306" y="1248"/>
                    <a:pt x="306" y="1248"/>
                  </a:cubicBezTo>
                  <a:cubicBezTo>
                    <a:pt x="306" y="1248"/>
                    <a:pt x="306" y="1248"/>
                    <a:pt x="306" y="1248"/>
                  </a:cubicBezTo>
                  <a:cubicBezTo>
                    <a:pt x="214" y="1177"/>
                    <a:pt x="141" y="1082"/>
                    <a:pt x="95" y="973"/>
                  </a:cubicBezTo>
                  <a:cubicBezTo>
                    <a:pt x="119" y="963"/>
                    <a:pt x="119" y="963"/>
                    <a:pt x="119" y="963"/>
                  </a:cubicBezTo>
                  <a:cubicBezTo>
                    <a:pt x="120" y="963"/>
                    <a:pt x="120" y="963"/>
                    <a:pt x="120" y="963"/>
                  </a:cubicBezTo>
                  <a:cubicBezTo>
                    <a:pt x="120" y="962"/>
                    <a:pt x="120" y="962"/>
                    <a:pt x="120" y="962"/>
                  </a:cubicBezTo>
                  <a:cubicBezTo>
                    <a:pt x="107" y="930"/>
                    <a:pt x="96" y="897"/>
                    <a:pt x="88" y="863"/>
                  </a:cubicBezTo>
                  <a:cubicBezTo>
                    <a:pt x="86" y="856"/>
                    <a:pt x="85" y="850"/>
                    <a:pt x="84" y="843"/>
                  </a:cubicBezTo>
                  <a:cubicBezTo>
                    <a:pt x="75" y="802"/>
                    <a:pt x="71" y="759"/>
                    <a:pt x="71" y="716"/>
                  </a:cubicBezTo>
                  <a:cubicBezTo>
                    <a:pt x="71" y="716"/>
                    <a:pt x="71" y="716"/>
                    <a:pt x="71" y="716"/>
                  </a:cubicBezTo>
                  <a:cubicBezTo>
                    <a:pt x="71" y="716"/>
                    <a:pt x="71" y="716"/>
                    <a:pt x="71" y="716"/>
                  </a:cubicBezTo>
                  <a:cubicBezTo>
                    <a:pt x="71" y="716"/>
                    <a:pt x="71" y="716"/>
                    <a:pt x="71" y="716"/>
                  </a:cubicBezTo>
                  <a:cubicBezTo>
                    <a:pt x="71" y="688"/>
                    <a:pt x="73" y="660"/>
                    <a:pt x="76" y="633"/>
                  </a:cubicBezTo>
                  <a:cubicBezTo>
                    <a:pt x="229" y="653"/>
                    <a:pt x="229" y="653"/>
                    <a:pt x="229" y="653"/>
                  </a:cubicBezTo>
                  <a:cubicBezTo>
                    <a:pt x="230" y="651"/>
                    <a:pt x="230" y="651"/>
                    <a:pt x="230" y="651"/>
                  </a:cubicBezTo>
                  <a:cubicBezTo>
                    <a:pt x="76" y="631"/>
                    <a:pt x="76" y="631"/>
                    <a:pt x="76" y="631"/>
                  </a:cubicBezTo>
                  <a:cubicBezTo>
                    <a:pt x="81" y="598"/>
                    <a:pt x="88" y="566"/>
                    <a:pt x="97" y="534"/>
                  </a:cubicBezTo>
                  <a:cubicBezTo>
                    <a:pt x="100" y="523"/>
                    <a:pt x="104" y="512"/>
                    <a:pt x="107" y="501"/>
                  </a:cubicBezTo>
                  <a:cubicBezTo>
                    <a:pt x="111" y="490"/>
                    <a:pt x="115" y="480"/>
                    <a:pt x="120" y="469"/>
                  </a:cubicBezTo>
                  <a:cubicBezTo>
                    <a:pt x="120" y="469"/>
                    <a:pt x="120" y="469"/>
                    <a:pt x="120" y="469"/>
                  </a:cubicBezTo>
                  <a:cubicBezTo>
                    <a:pt x="120" y="469"/>
                    <a:pt x="120" y="469"/>
                    <a:pt x="120" y="469"/>
                  </a:cubicBezTo>
                  <a:cubicBezTo>
                    <a:pt x="120" y="468"/>
                    <a:pt x="120" y="468"/>
                    <a:pt x="120" y="468"/>
                  </a:cubicBezTo>
                  <a:cubicBezTo>
                    <a:pt x="119" y="468"/>
                    <a:pt x="119" y="468"/>
                    <a:pt x="119" y="468"/>
                  </a:cubicBezTo>
                  <a:cubicBezTo>
                    <a:pt x="90" y="455"/>
                    <a:pt x="90" y="455"/>
                    <a:pt x="90" y="455"/>
                  </a:cubicBezTo>
                  <a:cubicBezTo>
                    <a:pt x="113" y="401"/>
                    <a:pt x="142" y="350"/>
                    <a:pt x="178" y="304"/>
                  </a:cubicBezTo>
                  <a:cubicBezTo>
                    <a:pt x="203" y="324"/>
                    <a:pt x="203" y="324"/>
                    <a:pt x="203" y="324"/>
                  </a:cubicBezTo>
                  <a:cubicBezTo>
                    <a:pt x="203" y="324"/>
                    <a:pt x="203" y="324"/>
                    <a:pt x="203" y="324"/>
                  </a:cubicBezTo>
                  <a:cubicBezTo>
                    <a:pt x="204" y="324"/>
                    <a:pt x="204" y="324"/>
                    <a:pt x="204" y="324"/>
                  </a:cubicBezTo>
                  <a:cubicBezTo>
                    <a:pt x="238" y="279"/>
                    <a:pt x="278" y="239"/>
                    <a:pt x="322" y="205"/>
                  </a:cubicBezTo>
                  <a:cubicBezTo>
                    <a:pt x="343" y="231"/>
                    <a:pt x="343" y="231"/>
                    <a:pt x="343" y="231"/>
                  </a:cubicBezTo>
                  <a:cubicBezTo>
                    <a:pt x="344" y="230"/>
                    <a:pt x="344" y="230"/>
                    <a:pt x="344" y="230"/>
                  </a:cubicBezTo>
                  <a:cubicBezTo>
                    <a:pt x="324" y="204"/>
                    <a:pt x="324" y="204"/>
                    <a:pt x="324" y="204"/>
                  </a:cubicBezTo>
                  <a:cubicBezTo>
                    <a:pt x="374" y="165"/>
                    <a:pt x="431" y="134"/>
                    <a:pt x="491" y="111"/>
                  </a:cubicBezTo>
                  <a:cubicBezTo>
                    <a:pt x="513" y="103"/>
                    <a:pt x="536" y="96"/>
                    <a:pt x="560" y="90"/>
                  </a:cubicBezTo>
                  <a:cubicBezTo>
                    <a:pt x="583" y="84"/>
                    <a:pt x="607" y="80"/>
                    <a:pt x="631" y="76"/>
                  </a:cubicBezTo>
                  <a:cubicBezTo>
                    <a:pt x="631" y="76"/>
                    <a:pt x="631" y="76"/>
                    <a:pt x="631" y="76"/>
                  </a:cubicBezTo>
                  <a:cubicBezTo>
                    <a:pt x="632" y="76"/>
                    <a:pt x="632" y="76"/>
                    <a:pt x="632" y="76"/>
                  </a:cubicBezTo>
                  <a:cubicBezTo>
                    <a:pt x="632" y="75"/>
                    <a:pt x="632" y="75"/>
                    <a:pt x="632" y="75"/>
                  </a:cubicBezTo>
                  <a:cubicBezTo>
                    <a:pt x="627" y="32"/>
                    <a:pt x="627" y="32"/>
                    <a:pt x="627" y="32"/>
                  </a:cubicBezTo>
                  <a:cubicBezTo>
                    <a:pt x="656" y="29"/>
                    <a:pt x="685" y="27"/>
                    <a:pt x="715" y="27"/>
                  </a:cubicBezTo>
                  <a:cubicBezTo>
                    <a:pt x="715" y="27"/>
                    <a:pt x="715" y="27"/>
                    <a:pt x="715" y="27"/>
                  </a:cubicBezTo>
                  <a:cubicBezTo>
                    <a:pt x="716" y="27"/>
                    <a:pt x="716" y="27"/>
                    <a:pt x="716" y="27"/>
                  </a:cubicBezTo>
                  <a:cubicBezTo>
                    <a:pt x="746" y="27"/>
                    <a:pt x="775" y="29"/>
                    <a:pt x="805" y="32"/>
                  </a:cubicBezTo>
                  <a:cubicBezTo>
                    <a:pt x="802" y="49"/>
                    <a:pt x="802" y="49"/>
                    <a:pt x="802" y="49"/>
                  </a:cubicBezTo>
                  <a:cubicBezTo>
                    <a:pt x="803" y="50"/>
                    <a:pt x="803" y="50"/>
                    <a:pt x="803" y="50"/>
                  </a:cubicBezTo>
                  <a:cubicBezTo>
                    <a:pt x="803" y="50"/>
                    <a:pt x="803" y="50"/>
                    <a:pt x="803" y="50"/>
                  </a:cubicBezTo>
                  <a:cubicBezTo>
                    <a:pt x="862" y="57"/>
                    <a:pt x="919" y="73"/>
                    <a:pt x="972" y="95"/>
                  </a:cubicBezTo>
                  <a:cubicBezTo>
                    <a:pt x="958" y="127"/>
                    <a:pt x="958" y="127"/>
                    <a:pt x="958" y="127"/>
                  </a:cubicBezTo>
                  <a:cubicBezTo>
                    <a:pt x="960" y="127"/>
                    <a:pt x="960" y="127"/>
                    <a:pt x="960" y="127"/>
                  </a:cubicBezTo>
                  <a:cubicBezTo>
                    <a:pt x="973" y="95"/>
                    <a:pt x="973" y="95"/>
                    <a:pt x="973" y="95"/>
                  </a:cubicBezTo>
                  <a:cubicBezTo>
                    <a:pt x="1027" y="118"/>
                    <a:pt x="1078" y="147"/>
                    <a:pt x="1123" y="182"/>
                  </a:cubicBezTo>
                  <a:cubicBezTo>
                    <a:pt x="1102" y="210"/>
                    <a:pt x="1102" y="210"/>
                    <a:pt x="1102" y="210"/>
                  </a:cubicBezTo>
                  <a:cubicBezTo>
                    <a:pt x="1104" y="211"/>
                    <a:pt x="1104" y="211"/>
                    <a:pt x="1104" y="211"/>
                  </a:cubicBezTo>
                  <a:cubicBezTo>
                    <a:pt x="1125" y="183"/>
                    <a:pt x="1125" y="183"/>
                    <a:pt x="1125" y="183"/>
                  </a:cubicBezTo>
                  <a:cubicBezTo>
                    <a:pt x="1166" y="215"/>
                    <a:pt x="1203" y="251"/>
                    <a:pt x="1236" y="291"/>
                  </a:cubicBezTo>
                  <a:cubicBezTo>
                    <a:pt x="1256" y="316"/>
                    <a:pt x="1275" y="343"/>
                    <a:pt x="1292" y="371"/>
                  </a:cubicBezTo>
                  <a:cubicBezTo>
                    <a:pt x="1308" y="398"/>
                    <a:pt x="1323" y="427"/>
                    <a:pt x="1336" y="457"/>
                  </a:cubicBezTo>
                  <a:cubicBezTo>
                    <a:pt x="1312" y="467"/>
                    <a:pt x="1312" y="467"/>
                    <a:pt x="1312" y="467"/>
                  </a:cubicBezTo>
                  <a:cubicBezTo>
                    <a:pt x="1311" y="468"/>
                    <a:pt x="1311" y="468"/>
                    <a:pt x="1311" y="468"/>
                  </a:cubicBezTo>
                  <a:cubicBezTo>
                    <a:pt x="1311" y="469"/>
                    <a:pt x="1311" y="469"/>
                    <a:pt x="1311" y="469"/>
                  </a:cubicBezTo>
                  <a:cubicBezTo>
                    <a:pt x="1324" y="500"/>
                    <a:pt x="1335" y="534"/>
                    <a:pt x="1343" y="568"/>
                  </a:cubicBezTo>
                  <a:cubicBezTo>
                    <a:pt x="1345" y="574"/>
                    <a:pt x="1346" y="581"/>
                    <a:pt x="1347" y="588"/>
                  </a:cubicBezTo>
                  <a:cubicBezTo>
                    <a:pt x="1356" y="629"/>
                    <a:pt x="1360" y="672"/>
                    <a:pt x="1360" y="716"/>
                  </a:cubicBezTo>
                  <a:cubicBezTo>
                    <a:pt x="1360" y="716"/>
                    <a:pt x="1360" y="716"/>
                    <a:pt x="1360" y="716"/>
                  </a:cubicBezTo>
                  <a:cubicBezTo>
                    <a:pt x="1360" y="716"/>
                    <a:pt x="1360" y="716"/>
                    <a:pt x="1360" y="716"/>
                  </a:cubicBezTo>
                  <a:cubicBezTo>
                    <a:pt x="1360" y="779"/>
                    <a:pt x="1351" y="839"/>
                    <a:pt x="1334" y="897"/>
                  </a:cubicBezTo>
                  <a:cubicBezTo>
                    <a:pt x="1331" y="908"/>
                    <a:pt x="1327" y="919"/>
                    <a:pt x="1323" y="930"/>
                  </a:cubicBezTo>
                  <a:cubicBezTo>
                    <a:pt x="1320" y="941"/>
                    <a:pt x="1315" y="952"/>
                    <a:pt x="1311" y="963"/>
                  </a:cubicBezTo>
                  <a:cubicBezTo>
                    <a:pt x="1311" y="963"/>
                    <a:pt x="1311" y="963"/>
                    <a:pt x="1311" y="963"/>
                  </a:cubicBezTo>
                  <a:cubicBezTo>
                    <a:pt x="1311" y="963"/>
                    <a:pt x="1311" y="963"/>
                    <a:pt x="1311" y="963"/>
                  </a:cubicBezTo>
                  <a:cubicBezTo>
                    <a:pt x="1312" y="964"/>
                    <a:pt x="1312" y="964"/>
                    <a:pt x="1312" y="964"/>
                  </a:cubicBezTo>
                  <a:cubicBezTo>
                    <a:pt x="1337" y="974"/>
                    <a:pt x="1337" y="974"/>
                    <a:pt x="1337" y="974"/>
                  </a:cubicBezTo>
                  <a:cubicBezTo>
                    <a:pt x="1338" y="973"/>
                    <a:pt x="1338" y="973"/>
                    <a:pt x="1338" y="973"/>
                  </a:cubicBezTo>
                  <a:cubicBezTo>
                    <a:pt x="1338" y="973"/>
                    <a:pt x="1338" y="973"/>
                    <a:pt x="1338" y="973"/>
                  </a:cubicBezTo>
                  <a:cubicBezTo>
                    <a:pt x="1342" y="962"/>
                    <a:pt x="1347" y="951"/>
                    <a:pt x="1351" y="940"/>
                  </a:cubicBezTo>
                  <a:cubicBezTo>
                    <a:pt x="1355" y="928"/>
                    <a:pt x="1358" y="917"/>
                    <a:pt x="1362" y="905"/>
                  </a:cubicBezTo>
                  <a:cubicBezTo>
                    <a:pt x="1379" y="845"/>
                    <a:pt x="1389" y="781"/>
                    <a:pt x="1389" y="716"/>
                  </a:cubicBezTo>
                  <a:cubicBezTo>
                    <a:pt x="1389" y="716"/>
                    <a:pt x="1389" y="716"/>
                    <a:pt x="1389" y="716"/>
                  </a:cubicBezTo>
                  <a:cubicBezTo>
                    <a:pt x="1389" y="716"/>
                    <a:pt x="1389" y="716"/>
                    <a:pt x="1389" y="716"/>
                  </a:cubicBezTo>
                  <a:cubicBezTo>
                    <a:pt x="1389" y="701"/>
                    <a:pt x="1388" y="686"/>
                    <a:pt x="1387" y="671"/>
                  </a:cubicBezTo>
                  <a:cubicBezTo>
                    <a:pt x="1387" y="669"/>
                    <a:pt x="1387" y="666"/>
                    <a:pt x="1387" y="664"/>
                  </a:cubicBezTo>
                  <a:cubicBezTo>
                    <a:pt x="1386" y="652"/>
                    <a:pt x="1385" y="640"/>
                    <a:pt x="1383" y="628"/>
                  </a:cubicBezTo>
                  <a:cubicBezTo>
                    <a:pt x="1383" y="627"/>
                    <a:pt x="1383" y="627"/>
                    <a:pt x="1383" y="627"/>
                  </a:cubicBezTo>
                  <a:cubicBezTo>
                    <a:pt x="1382" y="627"/>
                    <a:pt x="1382" y="627"/>
                    <a:pt x="1382" y="627"/>
                  </a:cubicBezTo>
                  <a:cubicBezTo>
                    <a:pt x="1356" y="630"/>
                    <a:pt x="1356" y="630"/>
                    <a:pt x="1356" y="630"/>
                  </a:cubicBezTo>
                  <a:cubicBezTo>
                    <a:pt x="1354" y="616"/>
                    <a:pt x="1352" y="602"/>
                    <a:pt x="1349" y="587"/>
                  </a:cubicBezTo>
                  <a:cubicBezTo>
                    <a:pt x="1348" y="581"/>
                    <a:pt x="1346" y="574"/>
                    <a:pt x="1345" y="567"/>
                  </a:cubicBezTo>
                  <a:cubicBezTo>
                    <a:pt x="1337" y="533"/>
                    <a:pt x="1326" y="500"/>
                    <a:pt x="1313" y="469"/>
                  </a:cubicBezTo>
                  <a:cubicBezTo>
                    <a:pt x="1338" y="458"/>
                    <a:pt x="1338" y="458"/>
                    <a:pt x="1338" y="458"/>
                  </a:cubicBezTo>
                  <a:cubicBezTo>
                    <a:pt x="1338" y="458"/>
                    <a:pt x="1338" y="458"/>
                    <a:pt x="1338" y="458"/>
                  </a:cubicBezTo>
                  <a:cubicBezTo>
                    <a:pt x="1338" y="458"/>
                    <a:pt x="1338" y="458"/>
                    <a:pt x="1338" y="458"/>
                  </a:cubicBezTo>
                  <a:cubicBezTo>
                    <a:pt x="1338" y="458"/>
                    <a:pt x="1338" y="458"/>
                    <a:pt x="1338" y="458"/>
                  </a:cubicBezTo>
                  <a:cubicBezTo>
                    <a:pt x="1338" y="458"/>
                    <a:pt x="1338" y="458"/>
                    <a:pt x="1338" y="458"/>
                  </a:cubicBezTo>
                  <a:cubicBezTo>
                    <a:pt x="1325" y="427"/>
                    <a:pt x="1310" y="398"/>
                    <a:pt x="1293" y="370"/>
                  </a:cubicBezTo>
                  <a:cubicBezTo>
                    <a:pt x="1276" y="342"/>
                    <a:pt x="1258" y="315"/>
                    <a:pt x="1237" y="290"/>
                  </a:cubicBezTo>
                  <a:cubicBezTo>
                    <a:pt x="1131" y="160"/>
                    <a:pt x="978" y="71"/>
                    <a:pt x="804" y="48"/>
                  </a:cubicBezTo>
                  <a:cubicBezTo>
                    <a:pt x="806" y="33"/>
                    <a:pt x="806" y="33"/>
                    <a:pt x="806" y="33"/>
                  </a:cubicBezTo>
                  <a:cubicBezTo>
                    <a:pt x="931" y="49"/>
                    <a:pt x="1046" y="99"/>
                    <a:pt x="1140" y="173"/>
                  </a:cubicBezTo>
                  <a:cubicBezTo>
                    <a:pt x="1163" y="191"/>
                    <a:pt x="1185" y="210"/>
                    <a:pt x="1205" y="231"/>
                  </a:cubicBezTo>
                  <a:cubicBezTo>
                    <a:pt x="1225" y="252"/>
                    <a:pt x="1244" y="273"/>
                    <a:pt x="1262" y="296"/>
                  </a:cubicBezTo>
                  <a:cubicBezTo>
                    <a:pt x="1262" y="296"/>
                    <a:pt x="1262" y="296"/>
                    <a:pt x="1262" y="296"/>
                  </a:cubicBezTo>
                  <a:cubicBezTo>
                    <a:pt x="1262" y="296"/>
                    <a:pt x="1262" y="296"/>
                    <a:pt x="1262" y="296"/>
                  </a:cubicBezTo>
                  <a:cubicBezTo>
                    <a:pt x="1262" y="296"/>
                    <a:pt x="1262" y="296"/>
                    <a:pt x="1262" y="296"/>
                  </a:cubicBezTo>
                  <a:cubicBezTo>
                    <a:pt x="1263" y="297"/>
                    <a:pt x="1263" y="297"/>
                    <a:pt x="1263" y="297"/>
                  </a:cubicBezTo>
                  <a:cubicBezTo>
                    <a:pt x="1283" y="281"/>
                    <a:pt x="1283" y="281"/>
                    <a:pt x="1283" y="281"/>
                  </a:cubicBezTo>
                  <a:cubicBezTo>
                    <a:pt x="1336" y="351"/>
                    <a:pt x="1377" y="431"/>
                    <a:pt x="1402" y="518"/>
                  </a:cubicBezTo>
                  <a:cubicBezTo>
                    <a:pt x="1407" y="535"/>
                    <a:pt x="1411" y="552"/>
                    <a:pt x="1415" y="570"/>
                  </a:cubicBezTo>
                  <a:cubicBezTo>
                    <a:pt x="1418" y="587"/>
                    <a:pt x="1421" y="604"/>
                    <a:pt x="1424" y="622"/>
                  </a:cubicBezTo>
                  <a:cubicBezTo>
                    <a:pt x="1399" y="625"/>
                    <a:pt x="1399" y="625"/>
                    <a:pt x="1399" y="625"/>
                  </a:cubicBezTo>
                  <a:cubicBezTo>
                    <a:pt x="1399" y="626"/>
                    <a:pt x="1399" y="626"/>
                    <a:pt x="1399" y="626"/>
                  </a:cubicBezTo>
                  <a:cubicBezTo>
                    <a:pt x="1400" y="638"/>
                    <a:pt x="1401" y="651"/>
                    <a:pt x="1402" y="663"/>
                  </a:cubicBezTo>
                  <a:cubicBezTo>
                    <a:pt x="1403" y="665"/>
                    <a:pt x="1403" y="668"/>
                    <a:pt x="1403" y="670"/>
                  </a:cubicBezTo>
                  <a:cubicBezTo>
                    <a:pt x="1404" y="685"/>
                    <a:pt x="1404" y="700"/>
                    <a:pt x="1404" y="716"/>
                  </a:cubicBezTo>
                  <a:cubicBezTo>
                    <a:pt x="1404" y="716"/>
                    <a:pt x="1404" y="716"/>
                    <a:pt x="1404" y="716"/>
                  </a:cubicBezTo>
                  <a:cubicBezTo>
                    <a:pt x="1404" y="738"/>
                    <a:pt x="1403" y="759"/>
                    <a:pt x="1401" y="781"/>
                  </a:cubicBezTo>
                  <a:cubicBezTo>
                    <a:pt x="1401" y="785"/>
                    <a:pt x="1401" y="789"/>
                    <a:pt x="1400" y="793"/>
                  </a:cubicBezTo>
                  <a:cubicBezTo>
                    <a:pt x="1400" y="797"/>
                    <a:pt x="1399" y="801"/>
                    <a:pt x="1399" y="805"/>
                  </a:cubicBezTo>
                  <a:cubicBezTo>
                    <a:pt x="1399" y="805"/>
                    <a:pt x="1399" y="805"/>
                    <a:pt x="1399" y="805"/>
                  </a:cubicBezTo>
                  <a:cubicBezTo>
                    <a:pt x="1399" y="805"/>
                    <a:pt x="1399" y="805"/>
                    <a:pt x="1399" y="805"/>
                  </a:cubicBezTo>
                  <a:cubicBezTo>
                    <a:pt x="1399" y="806"/>
                    <a:pt x="1399" y="806"/>
                    <a:pt x="1399" y="806"/>
                  </a:cubicBezTo>
                  <a:cubicBezTo>
                    <a:pt x="1424" y="809"/>
                    <a:pt x="1424" y="809"/>
                    <a:pt x="1424" y="809"/>
                  </a:cubicBezTo>
                  <a:cubicBezTo>
                    <a:pt x="1412" y="901"/>
                    <a:pt x="1382" y="987"/>
                    <a:pt x="1339" y="1064"/>
                  </a:cubicBezTo>
                  <a:moveTo>
                    <a:pt x="1070" y="1307"/>
                  </a:moveTo>
                  <a:cubicBezTo>
                    <a:pt x="1055" y="1315"/>
                    <a:pt x="1040" y="1323"/>
                    <a:pt x="1025" y="1331"/>
                  </a:cubicBezTo>
                  <a:cubicBezTo>
                    <a:pt x="958" y="1365"/>
                    <a:pt x="884" y="1388"/>
                    <a:pt x="806" y="1399"/>
                  </a:cubicBezTo>
                  <a:cubicBezTo>
                    <a:pt x="804" y="1383"/>
                    <a:pt x="804" y="1383"/>
                    <a:pt x="804" y="1383"/>
                  </a:cubicBezTo>
                  <a:cubicBezTo>
                    <a:pt x="829" y="1380"/>
                    <a:pt x="854" y="1375"/>
                    <a:pt x="878" y="1369"/>
                  </a:cubicBezTo>
                  <a:cubicBezTo>
                    <a:pt x="902" y="1363"/>
                    <a:pt x="926" y="1356"/>
                    <a:pt x="950" y="1347"/>
                  </a:cubicBezTo>
                  <a:cubicBezTo>
                    <a:pt x="1069" y="1303"/>
                    <a:pt x="1173" y="1225"/>
                    <a:pt x="1249" y="1126"/>
                  </a:cubicBezTo>
                  <a:cubicBezTo>
                    <a:pt x="1262" y="1135"/>
                    <a:pt x="1262" y="1135"/>
                    <a:pt x="1262" y="1135"/>
                  </a:cubicBezTo>
                  <a:cubicBezTo>
                    <a:pt x="1209" y="1204"/>
                    <a:pt x="1144" y="1262"/>
                    <a:pt x="1070" y="1307"/>
                  </a:cubicBezTo>
                  <a:moveTo>
                    <a:pt x="50" y="803"/>
                  </a:moveTo>
                  <a:cubicBezTo>
                    <a:pt x="50" y="803"/>
                    <a:pt x="50" y="803"/>
                    <a:pt x="50" y="803"/>
                  </a:cubicBezTo>
                  <a:cubicBezTo>
                    <a:pt x="46" y="774"/>
                    <a:pt x="44" y="745"/>
                    <a:pt x="44" y="716"/>
                  </a:cubicBezTo>
                  <a:cubicBezTo>
                    <a:pt x="44" y="716"/>
                    <a:pt x="44" y="716"/>
                    <a:pt x="44" y="716"/>
                  </a:cubicBezTo>
                  <a:cubicBezTo>
                    <a:pt x="44" y="716"/>
                    <a:pt x="44" y="716"/>
                    <a:pt x="44" y="716"/>
                  </a:cubicBezTo>
                  <a:cubicBezTo>
                    <a:pt x="44" y="694"/>
                    <a:pt x="45" y="673"/>
                    <a:pt x="47" y="652"/>
                  </a:cubicBezTo>
                  <a:cubicBezTo>
                    <a:pt x="47" y="648"/>
                    <a:pt x="48" y="644"/>
                    <a:pt x="48" y="640"/>
                  </a:cubicBezTo>
                  <a:cubicBezTo>
                    <a:pt x="48" y="637"/>
                    <a:pt x="49" y="633"/>
                    <a:pt x="49" y="629"/>
                  </a:cubicBezTo>
                  <a:cubicBezTo>
                    <a:pt x="75" y="632"/>
                    <a:pt x="75" y="632"/>
                    <a:pt x="75" y="632"/>
                  </a:cubicBezTo>
                  <a:cubicBezTo>
                    <a:pt x="71" y="659"/>
                    <a:pt x="69" y="687"/>
                    <a:pt x="69" y="716"/>
                  </a:cubicBezTo>
                  <a:cubicBezTo>
                    <a:pt x="69" y="716"/>
                    <a:pt x="69" y="716"/>
                    <a:pt x="69" y="716"/>
                  </a:cubicBezTo>
                  <a:cubicBezTo>
                    <a:pt x="69" y="716"/>
                    <a:pt x="69" y="716"/>
                    <a:pt x="69" y="716"/>
                  </a:cubicBezTo>
                  <a:cubicBezTo>
                    <a:pt x="69" y="716"/>
                    <a:pt x="69" y="716"/>
                    <a:pt x="69" y="716"/>
                  </a:cubicBezTo>
                  <a:cubicBezTo>
                    <a:pt x="69" y="759"/>
                    <a:pt x="74" y="802"/>
                    <a:pt x="82" y="843"/>
                  </a:cubicBezTo>
                  <a:cubicBezTo>
                    <a:pt x="83" y="850"/>
                    <a:pt x="85" y="857"/>
                    <a:pt x="86" y="863"/>
                  </a:cubicBezTo>
                  <a:cubicBezTo>
                    <a:pt x="94" y="897"/>
                    <a:pt x="105" y="930"/>
                    <a:pt x="118" y="962"/>
                  </a:cubicBezTo>
                  <a:cubicBezTo>
                    <a:pt x="94" y="971"/>
                    <a:pt x="94" y="971"/>
                    <a:pt x="94" y="971"/>
                  </a:cubicBezTo>
                  <a:cubicBezTo>
                    <a:pt x="73" y="918"/>
                    <a:pt x="57" y="862"/>
                    <a:pt x="50" y="803"/>
                  </a:cubicBezTo>
                  <a:moveTo>
                    <a:pt x="7" y="808"/>
                  </a:moveTo>
                  <a:cubicBezTo>
                    <a:pt x="6" y="795"/>
                    <a:pt x="4" y="783"/>
                    <a:pt x="3" y="770"/>
                  </a:cubicBezTo>
                  <a:cubicBezTo>
                    <a:pt x="3" y="768"/>
                    <a:pt x="3" y="765"/>
                    <a:pt x="3" y="763"/>
                  </a:cubicBezTo>
                  <a:cubicBezTo>
                    <a:pt x="2" y="747"/>
                    <a:pt x="1" y="731"/>
                    <a:pt x="1" y="716"/>
                  </a:cubicBezTo>
                  <a:cubicBezTo>
                    <a:pt x="1" y="716"/>
                    <a:pt x="1" y="716"/>
                    <a:pt x="1" y="716"/>
                  </a:cubicBezTo>
                  <a:cubicBezTo>
                    <a:pt x="1" y="552"/>
                    <a:pt x="56" y="402"/>
                    <a:pt x="148" y="281"/>
                  </a:cubicBezTo>
                  <a:cubicBezTo>
                    <a:pt x="167" y="296"/>
                    <a:pt x="167" y="296"/>
                    <a:pt x="167" y="296"/>
                  </a:cubicBezTo>
                  <a:cubicBezTo>
                    <a:pt x="131" y="343"/>
                    <a:pt x="101" y="395"/>
                    <a:pt x="78" y="450"/>
                  </a:cubicBezTo>
                  <a:cubicBezTo>
                    <a:pt x="78" y="450"/>
                    <a:pt x="78" y="450"/>
                    <a:pt x="78" y="450"/>
                  </a:cubicBezTo>
                  <a:cubicBezTo>
                    <a:pt x="77" y="452"/>
                    <a:pt x="77" y="452"/>
                    <a:pt x="77" y="452"/>
                  </a:cubicBezTo>
                  <a:cubicBezTo>
                    <a:pt x="118" y="469"/>
                    <a:pt x="118" y="469"/>
                    <a:pt x="118" y="469"/>
                  </a:cubicBezTo>
                  <a:cubicBezTo>
                    <a:pt x="114" y="479"/>
                    <a:pt x="110" y="490"/>
                    <a:pt x="106" y="501"/>
                  </a:cubicBezTo>
                  <a:cubicBezTo>
                    <a:pt x="102" y="512"/>
                    <a:pt x="98" y="523"/>
                    <a:pt x="95" y="534"/>
                  </a:cubicBezTo>
                  <a:cubicBezTo>
                    <a:pt x="86" y="565"/>
                    <a:pt x="79" y="597"/>
                    <a:pt x="75" y="630"/>
                  </a:cubicBezTo>
                  <a:cubicBezTo>
                    <a:pt x="49" y="627"/>
                    <a:pt x="49" y="627"/>
                    <a:pt x="49" y="627"/>
                  </a:cubicBezTo>
                  <a:cubicBezTo>
                    <a:pt x="48" y="627"/>
                    <a:pt x="48" y="627"/>
                    <a:pt x="48" y="627"/>
                  </a:cubicBezTo>
                  <a:cubicBezTo>
                    <a:pt x="48" y="628"/>
                    <a:pt x="48" y="628"/>
                    <a:pt x="48" y="628"/>
                  </a:cubicBezTo>
                  <a:cubicBezTo>
                    <a:pt x="48" y="628"/>
                    <a:pt x="48" y="628"/>
                    <a:pt x="48" y="628"/>
                  </a:cubicBezTo>
                  <a:cubicBezTo>
                    <a:pt x="48" y="628"/>
                    <a:pt x="48" y="628"/>
                    <a:pt x="48" y="628"/>
                  </a:cubicBezTo>
                  <a:cubicBezTo>
                    <a:pt x="47" y="632"/>
                    <a:pt x="47" y="636"/>
                    <a:pt x="46" y="640"/>
                  </a:cubicBezTo>
                  <a:cubicBezTo>
                    <a:pt x="46" y="644"/>
                    <a:pt x="45" y="648"/>
                    <a:pt x="45" y="652"/>
                  </a:cubicBezTo>
                  <a:cubicBezTo>
                    <a:pt x="43" y="673"/>
                    <a:pt x="42" y="694"/>
                    <a:pt x="42" y="716"/>
                  </a:cubicBezTo>
                  <a:cubicBezTo>
                    <a:pt x="42" y="716"/>
                    <a:pt x="42" y="716"/>
                    <a:pt x="42" y="716"/>
                  </a:cubicBezTo>
                  <a:cubicBezTo>
                    <a:pt x="42" y="716"/>
                    <a:pt x="42" y="716"/>
                    <a:pt x="42" y="716"/>
                  </a:cubicBezTo>
                  <a:cubicBezTo>
                    <a:pt x="42" y="745"/>
                    <a:pt x="44" y="774"/>
                    <a:pt x="48" y="803"/>
                  </a:cubicBezTo>
                  <a:lnTo>
                    <a:pt x="7" y="808"/>
                  </a:lnTo>
                  <a:close/>
                  <a:moveTo>
                    <a:pt x="153" y="275"/>
                  </a:moveTo>
                  <a:cubicBezTo>
                    <a:pt x="172" y="251"/>
                    <a:pt x="192" y="229"/>
                    <a:pt x="213" y="208"/>
                  </a:cubicBezTo>
                  <a:cubicBezTo>
                    <a:pt x="234" y="187"/>
                    <a:pt x="257" y="167"/>
                    <a:pt x="280" y="149"/>
                  </a:cubicBezTo>
                  <a:cubicBezTo>
                    <a:pt x="295" y="168"/>
                    <a:pt x="295" y="168"/>
                    <a:pt x="295" y="168"/>
                  </a:cubicBezTo>
                  <a:cubicBezTo>
                    <a:pt x="247" y="205"/>
                    <a:pt x="205" y="247"/>
                    <a:pt x="168" y="295"/>
                  </a:cubicBezTo>
                  <a:cubicBezTo>
                    <a:pt x="149" y="280"/>
                    <a:pt x="149" y="280"/>
                    <a:pt x="149" y="280"/>
                  </a:cubicBezTo>
                  <a:cubicBezTo>
                    <a:pt x="151" y="278"/>
                    <a:pt x="152" y="277"/>
                    <a:pt x="153" y="275"/>
                  </a:cubicBezTo>
                  <a:moveTo>
                    <a:pt x="321" y="203"/>
                  </a:moveTo>
                  <a:cubicBezTo>
                    <a:pt x="277" y="238"/>
                    <a:pt x="237" y="277"/>
                    <a:pt x="203" y="322"/>
                  </a:cubicBezTo>
                  <a:cubicBezTo>
                    <a:pt x="169" y="296"/>
                    <a:pt x="169" y="296"/>
                    <a:pt x="169" y="296"/>
                  </a:cubicBezTo>
                  <a:cubicBezTo>
                    <a:pt x="206" y="248"/>
                    <a:pt x="248" y="206"/>
                    <a:pt x="296" y="170"/>
                  </a:cubicBezTo>
                  <a:lnTo>
                    <a:pt x="321" y="203"/>
                  </a:lnTo>
                  <a:close/>
                  <a:moveTo>
                    <a:pt x="396" y="105"/>
                  </a:moveTo>
                  <a:cubicBezTo>
                    <a:pt x="414" y="96"/>
                    <a:pt x="432" y="87"/>
                    <a:pt x="451" y="79"/>
                  </a:cubicBezTo>
                  <a:cubicBezTo>
                    <a:pt x="467" y="119"/>
                    <a:pt x="467" y="119"/>
                    <a:pt x="467" y="119"/>
                  </a:cubicBezTo>
                  <a:cubicBezTo>
                    <a:pt x="415" y="140"/>
                    <a:pt x="367" y="169"/>
                    <a:pt x="323" y="202"/>
                  </a:cubicBezTo>
                  <a:cubicBezTo>
                    <a:pt x="297" y="169"/>
                    <a:pt x="297" y="169"/>
                    <a:pt x="297" y="169"/>
                  </a:cubicBezTo>
                  <a:cubicBezTo>
                    <a:pt x="328" y="145"/>
                    <a:pt x="361" y="123"/>
                    <a:pt x="396" y="105"/>
                  </a:cubicBezTo>
                  <a:moveTo>
                    <a:pt x="469" y="118"/>
                  </a:moveTo>
                  <a:cubicBezTo>
                    <a:pt x="452" y="79"/>
                    <a:pt x="452" y="79"/>
                    <a:pt x="452" y="79"/>
                  </a:cubicBezTo>
                  <a:cubicBezTo>
                    <a:pt x="462" y="75"/>
                    <a:pt x="472" y="71"/>
                    <a:pt x="482" y="67"/>
                  </a:cubicBezTo>
                  <a:cubicBezTo>
                    <a:pt x="528" y="51"/>
                    <a:pt x="575" y="39"/>
                    <a:pt x="625" y="33"/>
                  </a:cubicBezTo>
                  <a:cubicBezTo>
                    <a:pt x="630" y="75"/>
                    <a:pt x="630" y="75"/>
                    <a:pt x="630" y="75"/>
                  </a:cubicBezTo>
                  <a:cubicBezTo>
                    <a:pt x="606" y="78"/>
                    <a:pt x="583" y="83"/>
                    <a:pt x="559" y="88"/>
                  </a:cubicBezTo>
                  <a:cubicBezTo>
                    <a:pt x="536" y="94"/>
                    <a:pt x="513" y="101"/>
                    <a:pt x="491" y="110"/>
                  </a:cubicBezTo>
                  <a:cubicBezTo>
                    <a:pt x="483" y="112"/>
                    <a:pt x="476" y="115"/>
                    <a:pt x="469" y="118"/>
                  </a:cubicBezTo>
                  <a:moveTo>
                    <a:pt x="442" y="55"/>
                  </a:moveTo>
                  <a:cubicBezTo>
                    <a:pt x="478" y="41"/>
                    <a:pt x="514" y="29"/>
                    <a:pt x="552" y="20"/>
                  </a:cubicBezTo>
                  <a:cubicBezTo>
                    <a:pt x="559" y="18"/>
                    <a:pt x="567" y="17"/>
                    <a:pt x="574" y="15"/>
                  </a:cubicBezTo>
                  <a:cubicBezTo>
                    <a:pt x="620" y="6"/>
                    <a:pt x="667" y="1"/>
                    <a:pt x="715" y="1"/>
                  </a:cubicBezTo>
                  <a:cubicBezTo>
                    <a:pt x="716" y="1"/>
                    <a:pt x="716" y="1"/>
                    <a:pt x="716" y="1"/>
                  </a:cubicBezTo>
                  <a:cubicBezTo>
                    <a:pt x="738" y="1"/>
                    <a:pt x="761" y="2"/>
                    <a:pt x="783" y="4"/>
                  </a:cubicBezTo>
                  <a:cubicBezTo>
                    <a:pt x="787" y="5"/>
                    <a:pt x="791" y="5"/>
                    <a:pt x="796" y="6"/>
                  </a:cubicBezTo>
                  <a:cubicBezTo>
                    <a:pt x="800" y="6"/>
                    <a:pt x="804" y="7"/>
                    <a:pt x="808" y="7"/>
                  </a:cubicBezTo>
                  <a:cubicBezTo>
                    <a:pt x="805" y="31"/>
                    <a:pt x="805" y="31"/>
                    <a:pt x="805" y="31"/>
                  </a:cubicBezTo>
                  <a:cubicBezTo>
                    <a:pt x="776" y="27"/>
                    <a:pt x="746" y="25"/>
                    <a:pt x="716" y="25"/>
                  </a:cubicBezTo>
                  <a:cubicBezTo>
                    <a:pt x="715" y="25"/>
                    <a:pt x="715" y="25"/>
                    <a:pt x="715" y="25"/>
                  </a:cubicBezTo>
                  <a:cubicBezTo>
                    <a:pt x="715" y="25"/>
                    <a:pt x="715" y="25"/>
                    <a:pt x="715" y="25"/>
                  </a:cubicBezTo>
                  <a:cubicBezTo>
                    <a:pt x="633" y="25"/>
                    <a:pt x="554" y="39"/>
                    <a:pt x="481" y="66"/>
                  </a:cubicBezTo>
                  <a:cubicBezTo>
                    <a:pt x="471" y="69"/>
                    <a:pt x="461" y="73"/>
                    <a:pt x="451" y="77"/>
                  </a:cubicBezTo>
                  <a:lnTo>
                    <a:pt x="442" y="55"/>
                  </a:lnTo>
                  <a:close/>
                  <a:moveTo>
                    <a:pt x="1425" y="808"/>
                  </a:moveTo>
                  <a:cubicBezTo>
                    <a:pt x="1400" y="805"/>
                    <a:pt x="1400" y="805"/>
                    <a:pt x="1400" y="805"/>
                  </a:cubicBezTo>
                  <a:cubicBezTo>
                    <a:pt x="1401" y="801"/>
                    <a:pt x="1401" y="797"/>
                    <a:pt x="1402" y="793"/>
                  </a:cubicBezTo>
                  <a:cubicBezTo>
                    <a:pt x="1402" y="789"/>
                    <a:pt x="1403" y="785"/>
                    <a:pt x="1403" y="781"/>
                  </a:cubicBezTo>
                  <a:cubicBezTo>
                    <a:pt x="1405" y="759"/>
                    <a:pt x="1406" y="738"/>
                    <a:pt x="1406" y="716"/>
                  </a:cubicBezTo>
                  <a:cubicBezTo>
                    <a:pt x="1406" y="716"/>
                    <a:pt x="1406" y="716"/>
                    <a:pt x="1406" y="716"/>
                  </a:cubicBezTo>
                  <a:cubicBezTo>
                    <a:pt x="1406" y="716"/>
                    <a:pt x="1406" y="716"/>
                    <a:pt x="1406" y="716"/>
                  </a:cubicBezTo>
                  <a:cubicBezTo>
                    <a:pt x="1406" y="700"/>
                    <a:pt x="1406" y="685"/>
                    <a:pt x="1405" y="670"/>
                  </a:cubicBezTo>
                  <a:cubicBezTo>
                    <a:pt x="1405" y="668"/>
                    <a:pt x="1404" y="665"/>
                    <a:pt x="1404" y="663"/>
                  </a:cubicBezTo>
                  <a:cubicBezTo>
                    <a:pt x="1403" y="651"/>
                    <a:pt x="1402" y="638"/>
                    <a:pt x="1400" y="626"/>
                  </a:cubicBezTo>
                  <a:cubicBezTo>
                    <a:pt x="1424" y="623"/>
                    <a:pt x="1424" y="623"/>
                    <a:pt x="1424" y="623"/>
                  </a:cubicBezTo>
                  <a:cubicBezTo>
                    <a:pt x="1425" y="623"/>
                    <a:pt x="1425" y="623"/>
                    <a:pt x="1425" y="623"/>
                  </a:cubicBezTo>
                  <a:cubicBezTo>
                    <a:pt x="1425" y="622"/>
                    <a:pt x="1425" y="622"/>
                    <a:pt x="1425" y="622"/>
                  </a:cubicBezTo>
                  <a:cubicBezTo>
                    <a:pt x="1425" y="622"/>
                    <a:pt x="1425" y="622"/>
                    <a:pt x="1425" y="622"/>
                  </a:cubicBezTo>
                  <a:cubicBezTo>
                    <a:pt x="1423" y="604"/>
                    <a:pt x="1420" y="587"/>
                    <a:pt x="1416" y="569"/>
                  </a:cubicBezTo>
                  <a:cubicBezTo>
                    <a:pt x="1412" y="552"/>
                    <a:pt x="1408" y="535"/>
                    <a:pt x="1403" y="518"/>
                  </a:cubicBezTo>
                  <a:cubicBezTo>
                    <a:pt x="1378" y="430"/>
                    <a:pt x="1337" y="350"/>
                    <a:pt x="1283" y="280"/>
                  </a:cubicBezTo>
                  <a:cubicBezTo>
                    <a:pt x="1283" y="279"/>
                    <a:pt x="1283" y="279"/>
                    <a:pt x="1283" y="279"/>
                  </a:cubicBezTo>
                  <a:cubicBezTo>
                    <a:pt x="1282" y="280"/>
                    <a:pt x="1282" y="280"/>
                    <a:pt x="1282" y="280"/>
                  </a:cubicBezTo>
                  <a:cubicBezTo>
                    <a:pt x="1263" y="295"/>
                    <a:pt x="1263" y="295"/>
                    <a:pt x="1263" y="295"/>
                  </a:cubicBezTo>
                  <a:cubicBezTo>
                    <a:pt x="1246" y="272"/>
                    <a:pt x="1227" y="250"/>
                    <a:pt x="1206" y="230"/>
                  </a:cubicBezTo>
                  <a:cubicBezTo>
                    <a:pt x="1186" y="209"/>
                    <a:pt x="1164" y="190"/>
                    <a:pt x="1141" y="172"/>
                  </a:cubicBezTo>
                  <a:cubicBezTo>
                    <a:pt x="1047" y="97"/>
                    <a:pt x="932" y="47"/>
                    <a:pt x="806" y="31"/>
                  </a:cubicBezTo>
                  <a:cubicBezTo>
                    <a:pt x="809" y="7"/>
                    <a:pt x="809" y="7"/>
                    <a:pt x="809" y="7"/>
                  </a:cubicBezTo>
                  <a:cubicBezTo>
                    <a:pt x="809" y="6"/>
                    <a:pt x="809" y="6"/>
                    <a:pt x="809" y="6"/>
                  </a:cubicBezTo>
                  <a:cubicBezTo>
                    <a:pt x="809" y="6"/>
                    <a:pt x="809" y="6"/>
                    <a:pt x="809" y="6"/>
                  </a:cubicBezTo>
                  <a:cubicBezTo>
                    <a:pt x="809" y="6"/>
                    <a:pt x="809" y="6"/>
                    <a:pt x="809" y="6"/>
                  </a:cubicBezTo>
                  <a:cubicBezTo>
                    <a:pt x="809" y="6"/>
                    <a:pt x="809" y="6"/>
                    <a:pt x="809" y="6"/>
                  </a:cubicBezTo>
                  <a:cubicBezTo>
                    <a:pt x="804" y="5"/>
                    <a:pt x="800" y="5"/>
                    <a:pt x="796" y="4"/>
                  </a:cubicBezTo>
                  <a:cubicBezTo>
                    <a:pt x="791" y="4"/>
                    <a:pt x="787" y="4"/>
                    <a:pt x="783" y="3"/>
                  </a:cubicBezTo>
                  <a:cubicBezTo>
                    <a:pt x="761" y="1"/>
                    <a:pt x="738" y="0"/>
                    <a:pt x="716" y="0"/>
                  </a:cubicBezTo>
                  <a:cubicBezTo>
                    <a:pt x="715" y="0"/>
                    <a:pt x="715" y="0"/>
                    <a:pt x="715" y="0"/>
                  </a:cubicBezTo>
                  <a:cubicBezTo>
                    <a:pt x="667" y="0"/>
                    <a:pt x="620" y="5"/>
                    <a:pt x="574" y="14"/>
                  </a:cubicBezTo>
                  <a:cubicBezTo>
                    <a:pt x="566" y="16"/>
                    <a:pt x="559" y="17"/>
                    <a:pt x="551" y="19"/>
                  </a:cubicBezTo>
                  <a:cubicBezTo>
                    <a:pt x="514" y="28"/>
                    <a:pt x="477" y="40"/>
                    <a:pt x="441" y="54"/>
                  </a:cubicBezTo>
                  <a:cubicBezTo>
                    <a:pt x="441" y="55"/>
                    <a:pt x="441" y="55"/>
                    <a:pt x="441" y="55"/>
                  </a:cubicBezTo>
                  <a:cubicBezTo>
                    <a:pt x="441" y="55"/>
                    <a:pt x="441" y="55"/>
                    <a:pt x="441" y="55"/>
                  </a:cubicBezTo>
                  <a:cubicBezTo>
                    <a:pt x="450" y="78"/>
                    <a:pt x="450" y="78"/>
                    <a:pt x="450" y="78"/>
                  </a:cubicBezTo>
                  <a:cubicBezTo>
                    <a:pt x="431" y="86"/>
                    <a:pt x="413" y="94"/>
                    <a:pt x="395" y="104"/>
                  </a:cubicBezTo>
                  <a:cubicBezTo>
                    <a:pt x="360" y="122"/>
                    <a:pt x="327" y="143"/>
                    <a:pt x="296" y="167"/>
                  </a:cubicBezTo>
                  <a:cubicBezTo>
                    <a:pt x="281" y="148"/>
                    <a:pt x="281" y="148"/>
                    <a:pt x="281" y="148"/>
                  </a:cubicBezTo>
                  <a:cubicBezTo>
                    <a:pt x="280" y="148"/>
                    <a:pt x="280" y="148"/>
                    <a:pt x="280" y="148"/>
                  </a:cubicBezTo>
                  <a:cubicBezTo>
                    <a:pt x="280" y="148"/>
                    <a:pt x="280" y="148"/>
                    <a:pt x="280" y="148"/>
                  </a:cubicBezTo>
                  <a:cubicBezTo>
                    <a:pt x="280" y="148"/>
                    <a:pt x="280" y="148"/>
                    <a:pt x="280" y="148"/>
                  </a:cubicBezTo>
                  <a:cubicBezTo>
                    <a:pt x="256" y="166"/>
                    <a:pt x="233" y="186"/>
                    <a:pt x="212" y="207"/>
                  </a:cubicBezTo>
                  <a:cubicBezTo>
                    <a:pt x="191" y="228"/>
                    <a:pt x="171" y="251"/>
                    <a:pt x="152" y="274"/>
                  </a:cubicBezTo>
                  <a:cubicBezTo>
                    <a:pt x="57" y="396"/>
                    <a:pt x="0" y="549"/>
                    <a:pt x="0" y="716"/>
                  </a:cubicBezTo>
                  <a:cubicBezTo>
                    <a:pt x="0" y="716"/>
                    <a:pt x="0" y="716"/>
                    <a:pt x="0" y="716"/>
                  </a:cubicBezTo>
                  <a:cubicBezTo>
                    <a:pt x="0" y="716"/>
                    <a:pt x="0" y="716"/>
                    <a:pt x="0" y="716"/>
                  </a:cubicBezTo>
                  <a:cubicBezTo>
                    <a:pt x="0" y="731"/>
                    <a:pt x="0" y="747"/>
                    <a:pt x="1" y="763"/>
                  </a:cubicBezTo>
                  <a:cubicBezTo>
                    <a:pt x="2" y="765"/>
                    <a:pt x="2" y="768"/>
                    <a:pt x="2" y="770"/>
                  </a:cubicBezTo>
                  <a:cubicBezTo>
                    <a:pt x="3" y="783"/>
                    <a:pt x="4" y="796"/>
                    <a:pt x="6" y="809"/>
                  </a:cubicBezTo>
                  <a:cubicBezTo>
                    <a:pt x="6" y="809"/>
                    <a:pt x="6" y="809"/>
                    <a:pt x="6" y="809"/>
                  </a:cubicBezTo>
                  <a:cubicBezTo>
                    <a:pt x="7" y="809"/>
                    <a:pt x="7" y="809"/>
                    <a:pt x="7" y="809"/>
                  </a:cubicBezTo>
                  <a:cubicBezTo>
                    <a:pt x="46" y="804"/>
                    <a:pt x="46" y="804"/>
                    <a:pt x="46" y="804"/>
                  </a:cubicBezTo>
                  <a:cubicBezTo>
                    <a:pt x="70" y="984"/>
                    <a:pt x="165" y="1142"/>
                    <a:pt x="301" y="1248"/>
                  </a:cubicBezTo>
                  <a:cubicBezTo>
                    <a:pt x="292" y="1259"/>
                    <a:pt x="292" y="1259"/>
                    <a:pt x="292" y="1259"/>
                  </a:cubicBezTo>
                  <a:cubicBezTo>
                    <a:pt x="259" y="1233"/>
                    <a:pt x="229" y="1205"/>
                    <a:pt x="201" y="1173"/>
                  </a:cubicBezTo>
                  <a:cubicBezTo>
                    <a:pt x="195" y="1167"/>
                    <a:pt x="190" y="1161"/>
                    <a:pt x="184" y="1154"/>
                  </a:cubicBezTo>
                  <a:cubicBezTo>
                    <a:pt x="179" y="1148"/>
                    <a:pt x="174" y="1141"/>
                    <a:pt x="169" y="1135"/>
                  </a:cubicBezTo>
                  <a:cubicBezTo>
                    <a:pt x="167" y="1133"/>
                    <a:pt x="167" y="1133"/>
                    <a:pt x="167" y="1133"/>
                  </a:cubicBezTo>
                  <a:cubicBezTo>
                    <a:pt x="141" y="1153"/>
                    <a:pt x="141" y="1153"/>
                    <a:pt x="141" y="1153"/>
                  </a:cubicBezTo>
                  <a:cubicBezTo>
                    <a:pt x="142" y="1155"/>
                    <a:pt x="142" y="1155"/>
                    <a:pt x="142" y="1155"/>
                  </a:cubicBezTo>
                  <a:cubicBezTo>
                    <a:pt x="142" y="1155"/>
                    <a:pt x="142" y="1155"/>
                    <a:pt x="142" y="1155"/>
                  </a:cubicBezTo>
                  <a:cubicBezTo>
                    <a:pt x="219" y="1255"/>
                    <a:pt x="321" y="1334"/>
                    <a:pt x="439" y="1383"/>
                  </a:cubicBezTo>
                  <a:cubicBezTo>
                    <a:pt x="441" y="1377"/>
                    <a:pt x="441" y="1377"/>
                    <a:pt x="441" y="1377"/>
                  </a:cubicBezTo>
                  <a:cubicBezTo>
                    <a:pt x="442" y="1377"/>
                    <a:pt x="442" y="1377"/>
                    <a:pt x="442" y="1377"/>
                  </a:cubicBezTo>
                  <a:cubicBezTo>
                    <a:pt x="442" y="1377"/>
                    <a:pt x="442" y="1377"/>
                    <a:pt x="442" y="1377"/>
                  </a:cubicBezTo>
                  <a:cubicBezTo>
                    <a:pt x="442" y="1377"/>
                    <a:pt x="442" y="1377"/>
                    <a:pt x="442" y="1377"/>
                  </a:cubicBezTo>
                  <a:cubicBezTo>
                    <a:pt x="458" y="1338"/>
                    <a:pt x="458" y="1338"/>
                    <a:pt x="458" y="1338"/>
                  </a:cubicBezTo>
                  <a:cubicBezTo>
                    <a:pt x="465" y="1341"/>
                    <a:pt x="473" y="1344"/>
                    <a:pt x="480" y="1347"/>
                  </a:cubicBezTo>
                  <a:cubicBezTo>
                    <a:pt x="488" y="1349"/>
                    <a:pt x="495" y="1352"/>
                    <a:pt x="503" y="1355"/>
                  </a:cubicBezTo>
                  <a:cubicBezTo>
                    <a:pt x="543" y="1368"/>
                    <a:pt x="584" y="1378"/>
                    <a:pt x="627" y="1383"/>
                  </a:cubicBezTo>
                  <a:cubicBezTo>
                    <a:pt x="625" y="1400"/>
                    <a:pt x="625" y="1400"/>
                    <a:pt x="625" y="1400"/>
                  </a:cubicBezTo>
                  <a:cubicBezTo>
                    <a:pt x="625" y="1400"/>
                    <a:pt x="625" y="1400"/>
                    <a:pt x="625" y="1400"/>
                  </a:cubicBezTo>
                  <a:cubicBezTo>
                    <a:pt x="625" y="1400"/>
                    <a:pt x="625" y="1400"/>
                    <a:pt x="625" y="1400"/>
                  </a:cubicBezTo>
                  <a:cubicBezTo>
                    <a:pt x="625" y="1400"/>
                    <a:pt x="625" y="1400"/>
                    <a:pt x="625" y="1400"/>
                  </a:cubicBezTo>
                  <a:cubicBezTo>
                    <a:pt x="625" y="1400"/>
                    <a:pt x="625" y="1400"/>
                    <a:pt x="625" y="1400"/>
                  </a:cubicBezTo>
                  <a:cubicBezTo>
                    <a:pt x="630" y="1401"/>
                    <a:pt x="634" y="1401"/>
                    <a:pt x="638" y="1402"/>
                  </a:cubicBezTo>
                  <a:cubicBezTo>
                    <a:pt x="642" y="1402"/>
                    <a:pt x="646" y="1403"/>
                    <a:pt x="650" y="1403"/>
                  </a:cubicBezTo>
                  <a:cubicBezTo>
                    <a:pt x="672" y="1405"/>
                    <a:pt x="694" y="1406"/>
                    <a:pt x="716" y="1406"/>
                  </a:cubicBezTo>
                  <a:cubicBezTo>
                    <a:pt x="716" y="1406"/>
                    <a:pt x="716" y="1406"/>
                    <a:pt x="716" y="1406"/>
                  </a:cubicBezTo>
                  <a:cubicBezTo>
                    <a:pt x="716" y="1406"/>
                    <a:pt x="716" y="1406"/>
                    <a:pt x="716" y="1406"/>
                  </a:cubicBezTo>
                  <a:cubicBezTo>
                    <a:pt x="809" y="1406"/>
                    <a:pt x="898" y="1388"/>
                    <a:pt x="980" y="1354"/>
                  </a:cubicBezTo>
                  <a:cubicBezTo>
                    <a:pt x="988" y="1376"/>
                    <a:pt x="988" y="1376"/>
                    <a:pt x="988" y="1376"/>
                  </a:cubicBezTo>
                  <a:cubicBezTo>
                    <a:pt x="953" y="1390"/>
                    <a:pt x="917" y="1402"/>
                    <a:pt x="879" y="1411"/>
                  </a:cubicBezTo>
                  <a:cubicBezTo>
                    <a:pt x="872" y="1413"/>
                    <a:pt x="864" y="1414"/>
                    <a:pt x="857" y="1416"/>
                  </a:cubicBezTo>
                  <a:cubicBezTo>
                    <a:pt x="811" y="1425"/>
                    <a:pt x="764" y="1430"/>
                    <a:pt x="716" y="1430"/>
                  </a:cubicBezTo>
                  <a:cubicBezTo>
                    <a:pt x="716" y="1430"/>
                    <a:pt x="716" y="1430"/>
                    <a:pt x="716" y="1430"/>
                  </a:cubicBezTo>
                  <a:cubicBezTo>
                    <a:pt x="684" y="1430"/>
                    <a:pt x="653" y="1428"/>
                    <a:pt x="622" y="1424"/>
                  </a:cubicBezTo>
                  <a:cubicBezTo>
                    <a:pt x="623" y="1416"/>
                    <a:pt x="623" y="1416"/>
                    <a:pt x="623" y="1416"/>
                  </a:cubicBezTo>
                  <a:cubicBezTo>
                    <a:pt x="580" y="1411"/>
                    <a:pt x="538" y="1401"/>
                    <a:pt x="498" y="1388"/>
                  </a:cubicBezTo>
                  <a:cubicBezTo>
                    <a:pt x="498" y="1388"/>
                    <a:pt x="496" y="1388"/>
                    <a:pt x="496" y="1388"/>
                  </a:cubicBezTo>
                  <a:cubicBezTo>
                    <a:pt x="496" y="1388"/>
                    <a:pt x="496" y="1388"/>
                    <a:pt x="496" y="1388"/>
                  </a:cubicBezTo>
                  <a:cubicBezTo>
                    <a:pt x="496" y="1388"/>
                    <a:pt x="496" y="1388"/>
                    <a:pt x="496" y="1388"/>
                  </a:cubicBezTo>
                  <a:cubicBezTo>
                    <a:pt x="493" y="1395"/>
                    <a:pt x="493" y="1395"/>
                    <a:pt x="493" y="1395"/>
                  </a:cubicBezTo>
                  <a:cubicBezTo>
                    <a:pt x="493" y="1396"/>
                    <a:pt x="493" y="1396"/>
                    <a:pt x="493" y="1396"/>
                  </a:cubicBezTo>
                  <a:cubicBezTo>
                    <a:pt x="494" y="1396"/>
                    <a:pt x="494" y="1396"/>
                    <a:pt x="494" y="1396"/>
                  </a:cubicBezTo>
                  <a:cubicBezTo>
                    <a:pt x="494" y="1396"/>
                    <a:pt x="494" y="1396"/>
                    <a:pt x="494" y="1396"/>
                  </a:cubicBezTo>
                  <a:cubicBezTo>
                    <a:pt x="504" y="1399"/>
                    <a:pt x="513" y="1402"/>
                    <a:pt x="523" y="1405"/>
                  </a:cubicBezTo>
                  <a:cubicBezTo>
                    <a:pt x="533" y="1408"/>
                    <a:pt x="543" y="1410"/>
                    <a:pt x="553" y="1413"/>
                  </a:cubicBezTo>
                  <a:cubicBezTo>
                    <a:pt x="606" y="1425"/>
                    <a:pt x="660" y="1431"/>
                    <a:pt x="716" y="1431"/>
                  </a:cubicBezTo>
                  <a:cubicBezTo>
                    <a:pt x="716" y="1431"/>
                    <a:pt x="716" y="1431"/>
                    <a:pt x="716" y="1431"/>
                  </a:cubicBezTo>
                  <a:cubicBezTo>
                    <a:pt x="716" y="1431"/>
                    <a:pt x="716" y="1431"/>
                    <a:pt x="716" y="1431"/>
                  </a:cubicBezTo>
                  <a:cubicBezTo>
                    <a:pt x="764" y="1431"/>
                    <a:pt x="811" y="1426"/>
                    <a:pt x="857" y="1417"/>
                  </a:cubicBezTo>
                  <a:cubicBezTo>
                    <a:pt x="865" y="1416"/>
                    <a:pt x="872" y="1414"/>
                    <a:pt x="879" y="1412"/>
                  </a:cubicBezTo>
                  <a:cubicBezTo>
                    <a:pt x="917" y="1403"/>
                    <a:pt x="954" y="1391"/>
                    <a:pt x="989" y="1377"/>
                  </a:cubicBezTo>
                  <a:cubicBezTo>
                    <a:pt x="990" y="1377"/>
                    <a:pt x="990" y="1377"/>
                    <a:pt x="990" y="1377"/>
                  </a:cubicBezTo>
                  <a:cubicBezTo>
                    <a:pt x="990" y="1376"/>
                    <a:pt x="990" y="1376"/>
                    <a:pt x="990" y="1376"/>
                  </a:cubicBezTo>
                  <a:cubicBezTo>
                    <a:pt x="981" y="1353"/>
                    <a:pt x="981" y="1353"/>
                    <a:pt x="981" y="1353"/>
                  </a:cubicBezTo>
                  <a:cubicBezTo>
                    <a:pt x="996" y="1347"/>
                    <a:pt x="1011" y="1340"/>
                    <a:pt x="1026" y="1333"/>
                  </a:cubicBezTo>
                  <a:cubicBezTo>
                    <a:pt x="1041" y="1325"/>
                    <a:pt x="1056" y="1317"/>
                    <a:pt x="1071" y="1308"/>
                  </a:cubicBezTo>
                  <a:cubicBezTo>
                    <a:pt x="1145" y="1263"/>
                    <a:pt x="1210" y="1205"/>
                    <a:pt x="1263" y="1136"/>
                  </a:cubicBezTo>
                  <a:cubicBezTo>
                    <a:pt x="1282" y="1151"/>
                    <a:pt x="1282" y="1151"/>
                    <a:pt x="1282" y="1151"/>
                  </a:cubicBezTo>
                  <a:cubicBezTo>
                    <a:pt x="1283" y="1152"/>
                    <a:pt x="1283" y="1152"/>
                    <a:pt x="1283" y="1152"/>
                  </a:cubicBezTo>
                  <a:cubicBezTo>
                    <a:pt x="1283" y="1151"/>
                    <a:pt x="1283" y="1151"/>
                    <a:pt x="1283" y="1151"/>
                  </a:cubicBezTo>
                  <a:cubicBezTo>
                    <a:pt x="1283" y="1151"/>
                    <a:pt x="1283" y="1151"/>
                    <a:pt x="1283" y="1151"/>
                  </a:cubicBezTo>
                  <a:cubicBezTo>
                    <a:pt x="1283" y="1151"/>
                    <a:pt x="1283" y="1151"/>
                    <a:pt x="1283" y="1151"/>
                  </a:cubicBezTo>
                  <a:cubicBezTo>
                    <a:pt x="1294" y="1137"/>
                    <a:pt x="1304" y="1123"/>
                    <a:pt x="1313" y="1109"/>
                  </a:cubicBezTo>
                  <a:cubicBezTo>
                    <a:pt x="1323" y="1095"/>
                    <a:pt x="1332" y="1080"/>
                    <a:pt x="1340" y="1065"/>
                  </a:cubicBezTo>
                  <a:cubicBezTo>
                    <a:pt x="1384" y="987"/>
                    <a:pt x="1413" y="901"/>
                    <a:pt x="1425" y="809"/>
                  </a:cubicBezTo>
                  <a:cubicBezTo>
                    <a:pt x="1425" y="808"/>
                    <a:pt x="1425" y="808"/>
                    <a:pt x="1425" y="808"/>
                  </a:cubicBezTo>
                  <a:close/>
                </a:path>
              </a:pathLst>
            </a:custGeom>
            <a:solidFill>
              <a:srgbClr val="897A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" name="Freeform 26"/>
            <p:cNvSpPr>
              <a:spLocks/>
            </p:cNvSpPr>
            <p:nvPr/>
          </p:nvSpPr>
          <p:spPr bwMode="gray">
            <a:xfrm>
              <a:off x="12696825" y="-5732463"/>
              <a:ext cx="176213" cy="176213"/>
            </a:xfrm>
            <a:custGeom>
              <a:avLst/>
              <a:gdLst>
                <a:gd name="T0" fmla="*/ 23 w 47"/>
                <a:gd name="T1" fmla="*/ 43 h 47"/>
                <a:gd name="T2" fmla="*/ 23 w 47"/>
                <a:gd name="T3" fmla="*/ 47 h 47"/>
                <a:gd name="T4" fmla="*/ 47 w 47"/>
                <a:gd name="T5" fmla="*/ 24 h 47"/>
                <a:gd name="T6" fmla="*/ 23 w 47"/>
                <a:gd name="T7" fmla="*/ 0 h 47"/>
                <a:gd name="T8" fmla="*/ 0 w 47"/>
                <a:gd name="T9" fmla="*/ 24 h 47"/>
                <a:gd name="T10" fmla="*/ 23 w 47"/>
                <a:gd name="T11" fmla="*/ 47 h 47"/>
                <a:gd name="T12" fmla="*/ 23 w 47"/>
                <a:gd name="T13" fmla="*/ 43 h 47"/>
                <a:gd name="T14" fmla="*/ 23 w 47"/>
                <a:gd name="T15" fmla="*/ 39 h 47"/>
                <a:gd name="T16" fmla="*/ 12 w 47"/>
                <a:gd name="T17" fmla="*/ 34 h 47"/>
                <a:gd name="T18" fmla="*/ 8 w 47"/>
                <a:gd name="T19" fmla="*/ 24 h 47"/>
                <a:gd name="T20" fmla="*/ 12 w 47"/>
                <a:gd name="T21" fmla="*/ 13 h 47"/>
                <a:gd name="T22" fmla="*/ 23 w 47"/>
                <a:gd name="T23" fmla="*/ 8 h 47"/>
                <a:gd name="T24" fmla="*/ 34 w 47"/>
                <a:gd name="T25" fmla="*/ 13 h 47"/>
                <a:gd name="T26" fmla="*/ 39 w 47"/>
                <a:gd name="T27" fmla="*/ 24 h 47"/>
                <a:gd name="T28" fmla="*/ 34 w 47"/>
                <a:gd name="T29" fmla="*/ 34 h 47"/>
                <a:gd name="T30" fmla="*/ 23 w 47"/>
                <a:gd name="T31" fmla="*/ 39 h 47"/>
                <a:gd name="T32" fmla="*/ 23 w 47"/>
                <a:gd name="T33" fmla="*/ 4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47">
                  <a:moveTo>
                    <a:pt x="23" y="43"/>
                  </a:moveTo>
                  <a:cubicBezTo>
                    <a:pt x="23" y="47"/>
                    <a:pt x="23" y="47"/>
                    <a:pt x="23" y="47"/>
                  </a:cubicBezTo>
                  <a:cubicBezTo>
                    <a:pt x="36" y="47"/>
                    <a:pt x="47" y="37"/>
                    <a:pt x="47" y="24"/>
                  </a:cubicBezTo>
                  <a:cubicBezTo>
                    <a:pt x="47" y="10"/>
                    <a:pt x="36" y="0"/>
                    <a:pt x="23" y="0"/>
                  </a:cubicBezTo>
                  <a:cubicBezTo>
                    <a:pt x="10" y="0"/>
                    <a:pt x="0" y="10"/>
                    <a:pt x="0" y="24"/>
                  </a:cubicBezTo>
                  <a:cubicBezTo>
                    <a:pt x="0" y="37"/>
                    <a:pt x="10" y="47"/>
                    <a:pt x="23" y="47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19" y="39"/>
                    <a:pt x="15" y="37"/>
                    <a:pt x="12" y="34"/>
                  </a:cubicBezTo>
                  <a:cubicBezTo>
                    <a:pt x="9" y="32"/>
                    <a:pt x="8" y="28"/>
                    <a:pt x="8" y="24"/>
                  </a:cubicBezTo>
                  <a:cubicBezTo>
                    <a:pt x="8" y="19"/>
                    <a:pt x="9" y="15"/>
                    <a:pt x="12" y="13"/>
                  </a:cubicBezTo>
                  <a:cubicBezTo>
                    <a:pt x="15" y="10"/>
                    <a:pt x="19" y="8"/>
                    <a:pt x="23" y="8"/>
                  </a:cubicBezTo>
                  <a:cubicBezTo>
                    <a:pt x="27" y="8"/>
                    <a:pt x="31" y="10"/>
                    <a:pt x="34" y="13"/>
                  </a:cubicBezTo>
                  <a:cubicBezTo>
                    <a:pt x="37" y="15"/>
                    <a:pt x="39" y="19"/>
                    <a:pt x="39" y="24"/>
                  </a:cubicBezTo>
                  <a:cubicBezTo>
                    <a:pt x="39" y="28"/>
                    <a:pt x="37" y="32"/>
                    <a:pt x="34" y="34"/>
                  </a:cubicBezTo>
                  <a:cubicBezTo>
                    <a:pt x="31" y="37"/>
                    <a:pt x="27" y="39"/>
                    <a:pt x="23" y="39"/>
                  </a:cubicBezTo>
                  <a:lnTo>
                    <a:pt x="23" y="43"/>
                  </a:lnTo>
                  <a:close/>
                </a:path>
              </a:pathLst>
            </a:custGeom>
            <a:solidFill>
              <a:srgbClr val="897A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" name="Oval 27"/>
            <p:cNvSpPr>
              <a:spLocks noChangeArrowheads="1"/>
            </p:cNvSpPr>
            <p:nvPr/>
          </p:nvSpPr>
          <p:spPr bwMode="gray">
            <a:xfrm>
              <a:off x="14919325" y="-2949575"/>
              <a:ext cx="146050" cy="146050"/>
            </a:xfrm>
            <a:prstGeom prst="ellipse">
              <a:avLst/>
            </a:prstGeom>
            <a:solidFill>
              <a:srgbClr val="897A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" name="Freeform 28"/>
            <p:cNvSpPr>
              <a:spLocks/>
            </p:cNvSpPr>
            <p:nvPr/>
          </p:nvSpPr>
          <p:spPr bwMode="gray">
            <a:xfrm>
              <a:off x="17537113" y="-2781300"/>
              <a:ext cx="176213" cy="176213"/>
            </a:xfrm>
            <a:custGeom>
              <a:avLst/>
              <a:gdLst>
                <a:gd name="T0" fmla="*/ 23 w 47"/>
                <a:gd name="T1" fmla="*/ 43 h 47"/>
                <a:gd name="T2" fmla="*/ 23 w 47"/>
                <a:gd name="T3" fmla="*/ 47 h 47"/>
                <a:gd name="T4" fmla="*/ 47 w 47"/>
                <a:gd name="T5" fmla="*/ 23 h 47"/>
                <a:gd name="T6" fmla="*/ 23 w 47"/>
                <a:gd name="T7" fmla="*/ 0 h 47"/>
                <a:gd name="T8" fmla="*/ 0 w 47"/>
                <a:gd name="T9" fmla="*/ 23 h 47"/>
                <a:gd name="T10" fmla="*/ 23 w 47"/>
                <a:gd name="T11" fmla="*/ 47 h 47"/>
                <a:gd name="T12" fmla="*/ 23 w 47"/>
                <a:gd name="T13" fmla="*/ 43 h 47"/>
                <a:gd name="T14" fmla="*/ 23 w 47"/>
                <a:gd name="T15" fmla="*/ 39 h 47"/>
                <a:gd name="T16" fmla="*/ 12 w 47"/>
                <a:gd name="T17" fmla="*/ 34 h 47"/>
                <a:gd name="T18" fmla="*/ 8 w 47"/>
                <a:gd name="T19" fmla="*/ 23 h 47"/>
                <a:gd name="T20" fmla="*/ 12 w 47"/>
                <a:gd name="T21" fmla="*/ 12 h 47"/>
                <a:gd name="T22" fmla="*/ 23 w 47"/>
                <a:gd name="T23" fmla="*/ 8 h 47"/>
                <a:gd name="T24" fmla="*/ 34 w 47"/>
                <a:gd name="T25" fmla="*/ 12 h 47"/>
                <a:gd name="T26" fmla="*/ 39 w 47"/>
                <a:gd name="T27" fmla="*/ 23 h 47"/>
                <a:gd name="T28" fmla="*/ 34 w 47"/>
                <a:gd name="T29" fmla="*/ 34 h 47"/>
                <a:gd name="T30" fmla="*/ 23 w 47"/>
                <a:gd name="T31" fmla="*/ 39 h 47"/>
                <a:gd name="T32" fmla="*/ 23 w 47"/>
                <a:gd name="T33" fmla="*/ 4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47">
                  <a:moveTo>
                    <a:pt x="23" y="43"/>
                  </a:moveTo>
                  <a:cubicBezTo>
                    <a:pt x="23" y="47"/>
                    <a:pt x="23" y="47"/>
                    <a:pt x="23" y="47"/>
                  </a:cubicBezTo>
                  <a:cubicBezTo>
                    <a:pt x="36" y="47"/>
                    <a:pt x="47" y="36"/>
                    <a:pt x="47" y="23"/>
                  </a:cubicBezTo>
                  <a:cubicBezTo>
                    <a:pt x="47" y="10"/>
                    <a:pt x="36" y="0"/>
                    <a:pt x="23" y="0"/>
                  </a:cubicBezTo>
                  <a:cubicBezTo>
                    <a:pt x="10" y="0"/>
                    <a:pt x="0" y="10"/>
                    <a:pt x="0" y="23"/>
                  </a:cubicBezTo>
                  <a:cubicBezTo>
                    <a:pt x="0" y="36"/>
                    <a:pt x="10" y="47"/>
                    <a:pt x="23" y="47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19" y="39"/>
                    <a:pt x="15" y="37"/>
                    <a:pt x="12" y="34"/>
                  </a:cubicBezTo>
                  <a:cubicBezTo>
                    <a:pt x="9" y="31"/>
                    <a:pt x="8" y="27"/>
                    <a:pt x="8" y="23"/>
                  </a:cubicBezTo>
                  <a:cubicBezTo>
                    <a:pt x="8" y="19"/>
                    <a:pt x="9" y="15"/>
                    <a:pt x="12" y="12"/>
                  </a:cubicBezTo>
                  <a:cubicBezTo>
                    <a:pt x="15" y="9"/>
                    <a:pt x="19" y="8"/>
                    <a:pt x="23" y="8"/>
                  </a:cubicBezTo>
                  <a:cubicBezTo>
                    <a:pt x="28" y="8"/>
                    <a:pt x="31" y="9"/>
                    <a:pt x="34" y="12"/>
                  </a:cubicBezTo>
                  <a:cubicBezTo>
                    <a:pt x="37" y="15"/>
                    <a:pt x="39" y="19"/>
                    <a:pt x="39" y="23"/>
                  </a:cubicBezTo>
                  <a:cubicBezTo>
                    <a:pt x="39" y="27"/>
                    <a:pt x="37" y="31"/>
                    <a:pt x="34" y="34"/>
                  </a:cubicBezTo>
                  <a:cubicBezTo>
                    <a:pt x="31" y="37"/>
                    <a:pt x="28" y="39"/>
                    <a:pt x="23" y="39"/>
                  </a:cubicBezTo>
                  <a:lnTo>
                    <a:pt x="23" y="43"/>
                  </a:lnTo>
                  <a:close/>
                </a:path>
              </a:pathLst>
            </a:custGeom>
            <a:solidFill>
              <a:srgbClr val="897A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" name="Oval 29"/>
            <p:cNvSpPr>
              <a:spLocks noChangeArrowheads="1"/>
            </p:cNvSpPr>
            <p:nvPr/>
          </p:nvSpPr>
          <p:spPr bwMode="gray">
            <a:xfrm>
              <a:off x="18822988" y="-7199313"/>
              <a:ext cx="147638" cy="146050"/>
            </a:xfrm>
            <a:prstGeom prst="ellipse">
              <a:avLst/>
            </a:prstGeom>
            <a:solidFill>
              <a:srgbClr val="897A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" name="Freeform 30"/>
            <p:cNvSpPr>
              <a:spLocks/>
            </p:cNvSpPr>
            <p:nvPr/>
          </p:nvSpPr>
          <p:spPr bwMode="gray">
            <a:xfrm>
              <a:off x="20413663" y="-5784850"/>
              <a:ext cx="138113" cy="142875"/>
            </a:xfrm>
            <a:custGeom>
              <a:avLst/>
              <a:gdLst>
                <a:gd name="T0" fmla="*/ 18 w 37"/>
                <a:gd name="T1" fmla="*/ 34 h 38"/>
                <a:gd name="T2" fmla="*/ 18 w 37"/>
                <a:gd name="T3" fmla="*/ 38 h 38"/>
                <a:gd name="T4" fmla="*/ 37 w 37"/>
                <a:gd name="T5" fmla="*/ 19 h 38"/>
                <a:gd name="T6" fmla="*/ 18 w 37"/>
                <a:gd name="T7" fmla="*/ 0 h 38"/>
                <a:gd name="T8" fmla="*/ 0 w 37"/>
                <a:gd name="T9" fmla="*/ 19 h 38"/>
                <a:gd name="T10" fmla="*/ 18 w 37"/>
                <a:gd name="T11" fmla="*/ 38 h 38"/>
                <a:gd name="T12" fmla="*/ 18 w 37"/>
                <a:gd name="T13" fmla="*/ 34 h 38"/>
                <a:gd name="T14" fmla="*/ 18 w 37"/>
                <a:gd name="T15" fmla="*/ 30 h 38"/>
                <a:gd name="T16" fmla="*/ 8 w 37"/>
                <a:gd name="T17" fmla="*/ 19 h 38"/>
                <a:gd name="T18" fmla="*/ 18 w 37"/>
                <a:gd name="T19" fmla="*/ 8 h 38"/>
                <a:gd name="T20" fmla="*/ 29 w 37"/>
                <a:gd name="T21" fmla="*/ 19 h 38"/>
                <a:gd name="T22" fmla="*/ 18 w 37"/>
                <a:gd name="T23" fmla="*/ 30 h 38"/>
                <a:gd name="T24" fmla="*/ 18 w 37"/>
                <a:gd name="T25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" h="38">
                  <a:moveTo>
                    <a:pt x="18" y="34"/>
                  </a:moveTo>
                  <a:cubicBezTo>
                    <a:pt x="18" y="38"/>
                    <a:pt x="18" y="38"/>
                    <a:pt x="18" y="38"/>
                  </a:cubicBezTo>
                  <a:cubicBezTo>
                    <a:pt x="28" y="37"/>
                    <a:pt x="37" y="29"/>
                    <a:pt x="37" y="19"/>
                  </a:cubicBezTo>
                  <a:cubicBezTo>
                    <a:pt x="37" y="9"/>
                    <a:pt x="28" y="0"/>
                    <a:pt x="18" y="0"/>
                  </a:cubicBezTo>
                  <a:cubicBezTo>
                    <a:pt x="8" y="0"/>
                    <a:pt x="0" y="9"/>
                    <a:pt x="0" y="19"/>
                  </a:cubicBezTo>
                  <a:cubicBezTo>
                    <a:pt x="0" y="29"/>
                    <a:pt x="8" y="37"/>
                    <a:pt x="18" y="38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2" y="29"/>
                    <a:pt x="8" y="25"/>
                    <a:pt x="8" y="19"/>
                  </a:cubicBezTo>
                  <a:cubicBezTo>
                    <a:pt x="8" y="13"/>
                    <a:pt x="12" y="8"/>
                    <a:pt x="18" y="8"/>
                  </a:cubicBezTo>
                  <a:cubicBezTo>
                    <a:pt x="24" y="8"/>
                    <a:pt x="29" y="13"/>
                    <a:pt x="29" y="19"/>
                  </a:cubicBezTo>
                  <a:cubicBezTo>
                    <a:pt x="29" y="25"/>
                    <a:pt x="24" y="29"/>
                    <a:pt x="18" y="30"/>
                  </a:cubicBezTo>
                  <a:lnTo>
                    <a:pt x="18" y="34"/>
                  </a:lnTo>
                  <a:close/>
                </a:path>
              </a:pathLst>
            </a:custGeom>
            <a:solidFill>
              <a:srgbClr val="897A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" name="Freeform 31"/>
            <p:cNvSpPr>
              <a:spLocks/>
            </p:cNvSpPr>
            <p:nvPr/>
          </p:nvSpPr>
          <p:spPr bwMode="gray">
            <a:xfrm>
              <a:off x="15324138" y="-1322388"/>
              <a:ext cx="660400" cy="176213"/>
            </a:xfrm>
            <a:custGeom>
              <a:avLst/>
              <a:gdLst>
                <a:gd name="T0" fmla="*/ 20 w 176"/>
                <a:gd name="T1" fmla="*/ 0 h 47"/>
                <a:gd name="T2" fmla="*/ 0 w 176"/>
                <a:gd name="T3" fmla="*/ 47 h 47"/>
                <a:gd name="T4" fmla="*/ 5 w 176"/>
                <a:gd name="T5" fmla="*/ 47 h 47"/>
                <a:gd name="T6" fmla="*/ 20 w 176"/>
                <a:gd name="T7" fmla="*/ 11 h 47"/>
                <a:gd name="T8" fmla="*/ 130 w 176"/>
                <a:gd name="T9" fmla="*/ 47 h 47"/>
                <a:gd name="T10" fmla="*/ 176 w 176"/>
                <a:gd name="T11" fmla="*/ 47 h 47"/>
                <a:gd name="T12" fmla="*/ 24 w 176"/>
                <a:gd name="T13" fmla="*/ 1 h 47"/>
                <a:gd name="T14" fmla="*/ 24 w 176"/>
                <a:gd name="T15" fmla="*/ 1 h 47"/>
                <a:gd name="T16" fmla="*/ 20 w 176"/>
                <a:gd name="T1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47">
                  <a:moveTo>
                    <a:pt x="20" y="0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55" y="26"/>
                    <a:pt x="92" y="38"/>
                    <a:pt x="130" y="47"/>
                  </a:cubicBezTo>
                  <a:cubicBezTo>
                    <a:pt x="176" y="47"/>
                    <a:pt x="176" y="47"/>
                    <a:pt x="176" y="47"/>
                  </a:cubicBezTo>
                  <a:cubicBezTo>
                    <a:pt x="124" y="37"/>
                    <a:pt x="73" y="21"/>
                    <a:pt x="24" y="1"/>
                  </a:cubicBezTo>
                  <a:cubicBezTo>
                    <a:pt x="24" y="1"/>
                    <a:pt x="24" y="1"/>
                    <a:pt x="24" y="1"/>
                  </a:cubicBezTo>
                  <a:lnTo>
                    <a:pt x="20" y="0"/>
                  </a:lnTo>
                  <a:close/>
                </a:path>
              </a:pathLst>
            </a:custGeom>
            <a:solidFill>
              <a:srgbClr val="897A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" name="Freeform 32"/>
            <p:cNvSpPr>
              <a:spLocks noEditPoints="1"/>
            </p:cNvSpPr>
            <p:nvPr/>
          </p:nvSpPr>
          <p:spPr bwMode="gray">
            <a:xfrm>
              <a:off x="12493625" y="-7221538"/>
              <a:ext cx="7950200" cy="6075363"/>
            </a:xfrm>
            <a:custGeom>
              <a:avLst/>
              <a:gdLst>
                <a:gd name="T0" fmla="*/ 527 w 2120"/>
                <a:gd name="T1" fmla="*/ 1562 h 1620"/>
                <a:gd name="T2" fmla="*/ 340 w 2120"/>
                <a:gd name="T3" fmla="*/ 1418 h 1620"/>
                <a:gd name="T4" fmla="*/ 237 w 2120"/>
                <a:gd name="T5" fmla="*/ 1184 h 1620"/>
                <a:gd name="T6" fmla="*/ 631 w 2120"/>
                <a:gd name="T7" fmla="*/ 1589 h 1620"/>
                <a:gd name="T8" fmla="*/ 340 w 2120"/>
                <a:gd name="T9" fmla="*/ 1364 h 1620"/>
                <a:gd name="T10" fmla="*/ 244 w 2120"/>
                <a:gd name="T11" fmla="*/ 1082 h 1620"/>
                <a:gd name="T12" fmla="*/ 608 w 2120"/>
                <a:gd name="T13" fmla="*/ 1456 h 1620"/>
                <a:gd name="T14" fmla="*/ 1180 w 2120"/>
                <a:gd name="T15" fmla="*/ 1611 h 1620"/>
                <a:gd name="T16" fmla="*/ 783 w 2120"/>
                <a:gd name="T17" fmla="*/ 1556 h 1620"/>
                <a:gd name="T18" fmla="*/ 364 w 2120"/>
                <a:gd name="T19" fmla="*/ 1133 h 1620"/>
                <a:gd name="T20" fmla="*/ 313 w 2120"/>
                <a:gd name="T21" fmla="*/ 735 h 1620"/>
                <a:gd name="T22" fmla="*/ 820 w 2120"/>
                <a:gd name="T23" fmla="*/ 109 h 1620"/>
                <a:gd name="T24" fmla="*/ 1182 w 2120"/>
                <a:gd name="T25" fmla="*/ 69 h 1620"/>
                <a:gd name="T26" fmla="*/ 1502 w 2120"/>
                <a:gd name="T27" fmla="*/ 289 h 1620"/>
                <a:gd name="T28" fmla="*/ 1816 w 2120"/>
                <a:gd name="T29" fmla="*/ 531 h 1620"/>
                <a:gd name="T30" fmla="*/ 1871 w 2120"/>
                <a:gd name="T31" fmla="*/ 732 h 1620"/>
                <a:gd name="T32" fmla="*/ 1803 w 2120"/>
                <a:gd name="T33" fmla="*/ 1136 h 1620"/>
                <a:gd name="T34" fmla="*/ 1503 w 2120"/>
                <a:gd name="T35" fmla="*/ 1384 h 1620"/>
                <a:gd name="T36" fmla="*/ 1333 w 2120"/>
                <a:gd name="T37" fmla="*/ 1620 h 1620"/>
                <a:gd name="T38" fmla="*/ 1468 w 2120"/>
                <a:gd name="T39" fmla="*/ 1620 h 1620"/>
                <a:gd name="T40" fmla="*/ 1669 w 2120"/>
                <a:gd name="T41" fmla="*/ 1600 h 1620"/>
                <a:gd name="T42" fmla="*/ 2120 w 2120"/>
                <a:gd name="T43" fmla="*/ 701 h 1620"/>
                <a:gd name="T44" fmla="*/ 1831 w 2120"/>
                <a:gd name="T45" fmla="*/ 262 h 1620"/>
                <a:gd name="T46" fmla="*/ 1723 w 2120"/>
                <a:gd name="T47" fmla="*/ 0 h 1620"/>
                <a:gd name="T48" fmla="*/ 1431 w 2120"/>
                <a:gd name="T49" fmla="*/ 0 h 1620"/>
                <a:gd name="T50" fmla="*/ 982 w 2120"/>
                <a:gd name="T51" fmla="*/ 60 h 1620"/>
                <a:gd name="T52" fmla="*/ 529 w 2120"/>
                <a:gd name="T53" fmla="*/ 113 h 1620"/>
                <a:gd name="T54" fmla="*/ 440 w 2120"/>
                <a:gd name="T55" fmla="*/ 0 h 1620"/>
                <a:gd name="T56" fmla="*/ 125 w 2120"/>
                <a:gd name="T57" fmla="*/ 723 h 1620"/>
                <a:gd name="T58" fmla="*/ 418 w 2120"/>
                <a:gd name="T59" fmla="*/ 1507 h 1620"/>
                <a:gd name="T60" fmla="*/ 1819 w 2120"/>
                <a:gd name="T61" fmla="*/ 530 h 1620"/>
                <a:gd name="T62" fmla="*/ 1921 w 2120"/>
                <a:gd name="T63" fmla="*/ 839 h 1620"/>
                <a:gd name="T64" fmla="*/ 1890 w 2120"/>
                <a:gd name="T65" fmla="*/ 503 h 1620"/>
                <a:gd name="T66" fmla="*/ 1897 w 2120"/>
                <a:gd name="T67" fmla="*/ 729 h 1620"/>
                <a:gd name="T68" fmla="*/ 1919 w 2120"/>
                <a:gd name="T69" fmla="*/ 839 h 1620"/>
                <a:gd name="T70" fmla="*/ 1638 w 2120"/>
                <a:gd name="T71" fmla="*/ 1392 h 1620"/>
                <a:gd name="T72" fmla="*/ 1745 w 2120"/>
                <a:gd name="T73" fmla="*/ 1508 h 1620"/>
                <a:gd name="T74" fmla="*/ 1830 w 2120"/>
                <a:gd name="T75" fmla="*/ 1410 h 1620"/>
                <a:gd name="T76" fmla="*/ 1779 w 2120"/>
                <a:gd name="T77" fmla="*/ 1371 h 1620"/>
                <a:gd name="T78" fmla="*/ 1748 w 2120"/>
                <a:gd name="T79" fmla="*/ 1279 h 1620"/>
                <a:gd name="T80" fmla="*/ 1893 w 2120"/>
                <a:gd name="T81" fmla="*/ 1173 h 1620"/>
                <a:gd name="T82" fmla="*/ 1955 w 2120"/>
                <a:gd name="T83" fmla="*/ 481 h 1620"/>
                <a:gd name="T84" fmla="*/ 1779 w 2120"/>
                <a:gd name="T85" fmla="*/ 303 h 1620"/>
                <a:gd name="T86" fmla="*/ 1668 w 2120"/>
                <a:gd name="T87" fmla="*/ 74 h 1620"/>
                <a:gd name="T88" fmla="*/ 1714 w 2120"/>
                <a:gd name="T89" fmla="*/ 351 h 1620"/>
                <a:gd name="T90" fmla="*/ 1388 w 2120"/>
                <a:gd name="T91" fmla="*/ 102 h 1620"/>
                <a:gd name="T92" fmla="*/ 130 w 2120"/>
                <a:gd name="T93" fmla="*/ 837 h 1620"/>
                <a:gd name="T94" fmla="*/ 252 w 2120"/>
                <a:gd name="T95" fmla="*/ 945 h 1620"/>
                <a:gd name="T96" fmla="*/ 250 w 2120"/>
                <a:gd name="T97" fmla="*/ 729 h 1620"/>
                <a:gd name="T98" fmla="*/ 335 w 2120"/>
                <a:gd name="T99" fmla="*/ 1109 h 1620"/>
                <a:gd name="T100" fmla="*/ 275 w 2120"/>
                <a:gd name="T101" fmla="*/ 504 h 1620"/>
                <a:gd name="T102" fmla="*/ 441 w 2120"/>
                <a:gd name="T103" fmla="*/ 1375 h 1620"/>
                <a:gd name="T104" fmla="*/ 304 w 2120"/>
                <a:gd name="T105" fmla="*/ 839 h 1620"/>
                <a:gd name="T106" fmla="*/ 337 w 2120"/>
                <a:gd name="T107" fmla="*/ 1108 h 1620"/>
                <a:gd name="T108" fmla="*/ 363 w 2120"/>
                <a:gd name="T109" fmla="*/ 540 h 1620"/>
                <a:gd name="T110" fmla="*/ 979 w 2120"/>
                <a:gd name="T111" fmla="*/ 60 h 1620"/>
                <a:gd name="T112" fmla="*/ 782 w 2120"/>
                <a:gd name="T113" fmla="*/ 114 h 1620"/>
                <a:gd name="T114" fmla="*/ 416 w 2120"/>
                <a:gd name="T115" fmla="*/ 325 h 1620"/>
                <a:gd name="T116" fmla="*/ 496 w 2120"/>
                <a:gd name="T117" fmla="*/ 73 h 1620"/>
                <a:gd name="T118" fmla="*/ 192 w 2120"/>
                <a:gd name="T119" fmla="*/ 469 h 1620"/>
                <a:gd name="T120" fmla="*/ 345 w 2120"/>
                <a:gd name="T121" fmla="*/ 433 h 1620"/>
                <a:gd name="T122" fmla="*/ 133 w 2120"/>
                <a:gd name="T123" fmla="*/ 677 h 1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0" h="1620">
                  <a:moveTo>
                    <a:pt x="0" y="980"/>
                  </a:moveTo>
                  <a:cubicBezTo>
                    <a:pt x="126" y="963"/>
                    <a:pt x="126" y="963"/>
                    <a:pt x="126" y="963"/>
                  </a:cubicBezTo>
                  <a:cubicBezTo>
                    <a:pt x="141" y="1072"/>
                    <a:pt x="173" y="1175"/>
                    <a:pt x="221" y="1269"/>
                  </a:cubicBezTo>
                  <a:cubicBezTo>
                    <a:pt x="231" y="1290"/>
                    <a:pt x="243" y="1311"/>
                    <a:pt x="255" y="1331"/>
                  </a:cubicBezTo>
                  <a:cubicBezTo>
                    <a:pt x="285" y="1382"/>
                    <a:pt x="320" y="1429"/>
                    <a:pt x="359" y="1473"/>
                  </a:cubicBezTo>
                  <a:cubicBezTo>
                    <a:pt x="400" y="1520"/>
                    <a:pt x="445" y="1562"/>
                    <a:pt x="494" y="1600"/>
                  </a:cubicBezTo>
                  <a:cubicBezTo>
                    <a:pt x="494" y="1600"/>
                    <a:pt x="494" y="1600"/>
                    <a:pt x="494" y="1600"/>
                  </a:cubicBezTo>
                  <a:cubicBezTo>
                    <a:pt x="496" y="1602"/>
                    <a:pt x="496" y="1602"/>
                    <a:pt x="496" y="1602"/>
                  </a:cubicBezTo>
                  <a:cubicBezTo>
                    <a:pt x="527" y="1562"/>
                    <a:pt x="527" y="1562"/>
                    <a:pt x="527" y="1562"/>
                  </a:cubicBezTo>
                  <a:cubicBezTo>
                    <a:pt x="555" y="1583"/>
                    <a:pt x="583" y="1602"/>
                    <a:pt x="613" y="1620"/>
                  </a:cubicBezTo>
                  <a:cubicBezTo>
                    <a:pt x="619" y="1620"/>
                    <a:pt x="619" y="1620"/>
                    <a:pt x="619" y="1620"/>
                  </a:cubicBezTo>
                  <a:cubicBezTo>
                    <a:pt x="587" y="1602"/>
                    <a:pt x="557" y="1581"/>
                    <a:pt x="528" y="1559"/>
                  </a:cubicBezTo>
                  <a:cubicBezTo>
                    <a:pt x="527" y="1558"/>
                    <a:pt x="527" y="1558"/>
                    <a:pt x="527" y="1558"/>
                  </a:cubicBezTo>
                  <a:cubicBezTo>
                    <a:pt x="526" y="1559"/>
                    <a:pt x="526" y="1559"/>
                    <a:pt x="526" y="1559"/>
                  </a:cubicBezTo>
                  <a:cubicBezTo>
                    <a:pt x="507" y="1583"/>
                    <a:pt x="507" y="1583"/>
                    <a:pt x="507" y="1583"/>
                  </a:cubicBezTo>
                  <a:cubicBezTo>
                    <a:pt x="476" y="1559"/>
                    <a:pt x="446" y="1534"/>
                    <a:pt x="419" y="1506"/>
                  </a:cubicBezTo>
                  <a:cubicBezTo>
                    <a:pt x="403" y="1491"/>
                    <a:pt x="388" y="1475"/>
                    <a:pt x="374" y="1459"/>
                  </a:cubicBezTo>
                  <a:cubicBezTo>
                    <a:pt x="362" y="1446"/>
                    <a:pt x="351" y="1432"/>
                    <a:pt x="340" y="1418"/>
                  </a:cubicBezTo>
                  <a:cubicBezTo>
                    <a:pt x="287" y="1351"/>
                    <a:pt x="244" y="1277"/>
                    <a:pt x="211" y="1197"/>
                  </a:cubicBezTo>
                  <a:cubicBezTo>
                    <a:pt x="202" y="1201"/>
                    <a:pt x="202" y="1201"/>
                    <a:pt x="202" y="1201"/>
                  </a:cubicBezTo>
                  <a:cubicBezTo>
                    <a:pt x="171" y="1125"/>
                    <a:pt x="149" y="1045"/>
                    <a:pt x="138" y="962"/>
                  </a:cubicBezTo>
                  <a:cubicBezTo>
                    <a:pt x="212" y="952"/>
                    <a:pt x="212" y="952"/>
                    <a:pt x="212" y="952"/>
                  </a:cubicBezTo>
                  <a:cubicBezTo>
                    <a:pt x="218" y="997"/>
                    <a:pt x="227" y="1040"/>
                    <a:pt x="240" y="1083"/>
                  </a:cubicBezTo>
                  <a:cubicBezTo>
                    <a:pt x="244" y="1098"/>
                    <a:pt x="249" y="1113"/>
                    <a:pt x="254" y="1128"/>
                  </a:cubicBezTo>
                  <a:cubicBezTo>
                    <a:pt x="254" y="1128"/>
                    <a:pt x="254" y="1128"/>
                    <a:pt x="254" y="1128"/>
                  </a:cubicBezTo>
                  <a:cubicBezTo>
                    <a:pt x="259" y="1142"/>
                    <a:pt x="265" y="1156"/>
                    <a:pt x="270" y="1170"/>
                  </a:cubicBezTo>
                  <a:cubicBezTo>
                    <a:pt x="237" y="1184"/>
                    <a:pt x="237" y="1184"/>
                    <a:pt x="237" y="1184"/>
                  </a:cubicBezTo>
                  <a:cubicBezTo>
                    <a:pt x="238" y="1186"/>
                    <a:pt x="238" y="1186"/>
                    <a:pt x="238" y="1186"/>
                  </a:cubicBezTo>
                  <a:cubicBezTo>
                    <a:pt x="238" y="1186"/>
                    <a:pt x="238" y="1186"/>
                    <a:pt x="238" y="1186"/>
                  </a:cubicBezTo>
                  <a:cubicBezTo>
                    <a:pt x="260" y="1239"/>
                    <a:pt x="287" y="1290"/>
                    <a:pt x="319" y="1338"/>
                  </a:cubicBezTo>
                  <a:cubicBezTo>
                    <a:pt x="325" y="1347"/>
                    <a:pt x="331" y="1356"/>
                    <a:pt x="338" y="1365"/>
                  </a:cubicBezTo>
                  <a:cubicBezTo>
                    <a:pt x="344" y="1374"/>
                    <a:pt x="350" y="1382"/>
                    <a:pt x="356" y="1391"/>
                  </a:cubicBezTo>
                  <a:cubicBezTo>
                    <a:pt x="356" y="1391"/>
                    <a:pt x="356" y="1391"/>
                    <a:pt x="356" y="1391"/>
                  </a:cubicBezTo>
                  <a:cubicBezTo>
                    <a:pt x="359" y="1394"/>
                    <a:pt x="359" y="1394"/>
                    <a:pt x="359" y="1394"/>
                  </a:cubicBezTo>
                  <a:cubicBezTo>
                    <a:pt x="387" y="1372"/>
                    <a:pt x="387" y="1372"/>
                    <a:pt x="387" y="1372"/>
                  </a:cubicBezTo>
                  <a:cubicBezTo>
                    <a:pt x="454" y="1459"/>
                    <a:pt x="537" y="1532"/>
                    <a:pt x="631" y="1589"/>
                  </a:cubicBezTo>
                  <a:cubicBezTo>
                    <a:pt x="649" y="1600"/>
                    <a:pt x="668" y="1611"/>
                    <a:pt x="687" y="1620"/>
                  </a:cubicBezTo>
                  <a:cubicBezTo>
                    <a:pt x="697" y="1620"/>
                    <a:pt x="697" y="1620"/>
                    <a:pt x="697" y="1620"/>
                  </a:cubicBezTo>
                  <a:cubicBezTo>
                    <a:pt x="694" y="1619"/>
                    <a:pt x="692" y="1618"/>
                    <a:pt x="689" y="1616"/>
                  </a:cubicBezTo>
                  <a:cubicBezTo>
                    <a:pt x="670" y="1607"/>
                    <a:pt x="651" y="1596"/>
                    <a:pt x="633" y="1585"/>
                  </a:cubicBezTo>
                  <a:cubicBezTo>
                    <a:pt x="539" y="1529"/>
                    <a:pt x="456" y="1455"/>
                    <a:pt x="389" y="1368"/>
                  </a:cubicBezTo>
                  <a:cubicBezTo>
                    <a:pt x="388" y="1366"/>
                    <a:pt x="388" y="1366"/>
                    <a:pt x="388" y="1366"/>
                  </a:cubicBezTo>
                  <a:cubicBezTo>
                    <a:pt x="386" y="1367"/>
                    <a:pt x="386" y="1367"/>
                    <a:pt x="386" y="1367"/>
                  </a:cubicBezTo>
                  <a:cubicBezTo>
                    <a:pt x="359" y="1389"/>
                    <a:pt x="359" y="1389"/>
                    <a:pt x="359" y="1389"/>
                  </a:cubicBezTo>
                  <a:cubicBezTo>
                    <a:pt x="352" y="1381"/>
                    <a:pt x="346" y="1372"/>
                    <a:pt x="340" y="1364"/>
                  </a:cubicBezTo>
                  <a:cubicBezTo>
                    <a:pt x="333" y="1355"/>
                    <a:pt x="327" y="1345"/>
                    <a:pt x="321" y="1336"/>
                  </a:cubicBezTo>
                  <a:cubicBezTo>
                    <a:pt x="290" y="1289"/>
                    <a:pt x="264" y="1239"/>
                    <a:pt x="242" y="1187"/>
                  </a:cubicBezTo>
                  <a:cubicBezTo>
                    <a:pt x="274" y="1173"/>
                    <a:pt x="274" y="1173"/>
                    <a:pt x="274" y="1173"/>
                  </a:cubicBezTo>
                  <a:cubicBezTo>
                    <a:pt x="276" y="1172"/>
                    <a:pt x="276" y="1172"/>
                    <a:pt x="276" y="1172"/>
                  </a:cubicBezTo>
                  <a:cubicBezTo>
                    <a:pt x="275" y="1170"/>
                    <a:pt x="275" y="1170"/>
                    <a:pt x="275" y="1170"/>
                  </a:cubicBezTo>
                  <a:cubicBezTo>
                    <a:pt x="275" y="1170"/>
                    <a:pt x="275" y="1170"/>
                    <a:pt x="275" y="1170"/>
                  </a:cubicBezTo>
                  <a:cubicBezTo>
                    <a:pt x="269" y="1156"/>
                    <a:pt x="264" y="1141"/>
                    <a:pt x="258" y="1127"/>
                  </a:cubicBezTo>
                  <a:cubicBezTo>
                    <a:pt x="258" y="1127"/>
                    <a:pt x="258" y="1127"/>
                    <a:pt x="258" y="1127"/>
                  </a:cubicBezTo>
                  <a:cubicBezTo>
                    <a:pt x="253" y="1112"/>
                    <a:pt x="248" y="1097"/>
                    <a:pt x="244" y="1082"/>
                  </a:cubicBezTo>
                  <a:cubicBezTo>
                    <a:pt x="232" y="1039"/>
                    <a:pt x="222" y="996"/>
                    <a:pt x="217" y="951"/>
                  </a:cubicBezTo>
                  <a:cubicBezTo>
                    <a:pt x="249" y="947"/>
                    <a:pt x="249" y="947"/>
                    <a:pt x="249" y="947"/>
                  </a:cubicBezTo>
                  <a:cubicBezTo>
                    <a:pt x="271" y="1109"/>
                    <a:pt x="339" y="1257"/>
                    <a:pt x="439" y="1377"/>
                  </a:cubicBezTo>
                  <a:cubicBezTo>
                    <a:pt x="459" y="1400"/>
                    <a:pt x="479" y="1422"/>
                    <a:pt x="501" y="1443"/>
                  </a:cubicBezTo>
                  <a:cubicBezTo>
                    <a:pt x="523" y="1464"/>
                    <a:pt x="546" y="1484"/>
                    <a:pt x="571" y="1503"/>
                  </a:cubicBezTo>
                  <a:cubicBezTo>
                    <a:pt x="571" y="1503"/>
                    <a:pt x="571" y="1503"/>
                    <a:pt x="571" y="1503"/>
                  </a:cubicBezTo>
                  <a:cubicBezTo>
                    <a:pt x="572" y="1504"/>
                    <a:pt x="572" y="1504"/>
                    <a:pt x="572" y="1504"/>
                  </a:cubicBezTo>
                  <a:cubicBezTo>
                    <a:pt x="572" y="1503"/>
                    <a:pt x="572" y="1503"/>
                    <a:pt x="572" y="1503"/>
                  </a:cubicBezTo>
                  <a:cubicBezTo>
                    <a:pt x="608" y="1456"/>
                    <a:pt x="608" y="1456"/>
                    <a:pt x="608" y="1456"/>
                  </a:cubicBezTo>
                  <a:cubicBezTo>
                    <a:pt x="739" y="1558"/>
                    <a:pt x="903" y="1618"/>
                    <a:pt x="1081" y="1619"/>
                  </a:cubicBezTo>
                  <a:cubicBezTo>
                    <a:pt x="1114" y="1619"/>
                    <a:pt x="1148" y="1617"/>
                    <a:pt x="1181" y="1613"/>
                  </a:cubicBezTo>
                  <a:cubicBezTo>
                    <a:pt x="1181" y="1613"/>
                    <a:pt x="1183" y="1613"/>
                    <a:pt x="1183" y="1612"/>
                  </a:cubicBezTo>
                  <a:cubicBezTo>
                    <a:pt x="1185" y="1620"/>
                    <a:pt x="1185" y="1620"/>
                    <a:pt x="1185" y="1620"/>
                  </a:cubicBezTo>
                  <a:cubicBezTo>
                    <a:pt x="1186" y="1620"/>
                    <a:pt x="1186" y="1620"/>
                    <a:pt x="1186" y="1620"/>
                  </a:cubicBezTo>
                  <a:cubicBezTo>
                    <a:pt x="1173" y="1520"/>
                    <a:pt x="1173" y="1520"/>
                    <a:pt x="1173" y="1520"/>
                  </a:cubicBezTo>
                  <a:cubicBezTo>
                    <a:pt x="1171" y="1521"/>
                    <a:pt x="1171" y="1521"/>
                    <a:pt x="1171" y="1521"/>
                  </a:cubicBezTo>
                  <a:cubicBezTo>
                    <a:pt x="1183" y="1610"/>
                    <a:pt x="1183" y="1610"/>
                    <a:pt x="1183" y="1610"/>
                  </a:cubicBezTo>
                  <a:cubicBezTo>
                    <a:pt x="1183" y="1610"/>
                    <a:pt x="1180" y="1611"/>
                    <a:pt x="1180" y="1611"/>
                  </a:cubicBezTo>
                  <a:cubicBezTo>
                    <a:pt x="1147" y="1615"/>
                    <a:pt x="1114" y="1616"/>
                    <a:pt x="1081" y="1616"/>
                  </a:cubicBezTo>
                  <a:cubicBezTo>
                    <a:pt x="1048" y="1616"/>
                    <a:pt x="1014" y="1614"/>
                    <a:pt x="982" y="1610"/>
                  </a:cubicBezTo>
                  <a:cubicBezTo>
                    <a:pt x="993" y="1520"/>
                    <a:pt x="993" y="1520"/>
                    <a:pt x="993" y="1520"/>
                  </a:cubicBezTo>
                  <a:cubicBezTo>
                    <a:pt x="992" y="1520"/>
                    <a:pt x="992" y="1520"/>
                    <a:pt x="992" y="1520"/>
                  </a:cubicBezTo>
                  <a:cubicBezTo>
                    <a:pt x="980" y="1609"/>
                    <a:pt x="980" y="1609"/>
                    <a:pt x="980" y="1609"/>
                  </a:cubicBezTo>
                  <a:cubicBezTo>
                    <a:pt x="912" y="1600"/>
                    <a:pt x="846" y="1582"/>
                    <a:pt x="785" y="1557"/>
                  </a:cubicBezTo>
                  <a:cubicBezTo>
                    <a:pt x="809" y="1498"/>
                    <a:pt x="809" y="1498"/>
                    <a:pt x="809" y="1498"/>
                  </a:cubicBezTo>
                  <a:cubicBezTo>
                    <a:pt x="808" y="1497"/>
                    <a:pt x="808" y="1497"/>
                    <a:pt x="808" y="1497"/>
                  </a:cubicBezTo>
                  <a:cubicBezTo>
                    <a:pt x="783" y="1556"/>
                    <a:pt x="783" y="1556"/>
                    <a:pt x="783" y="1556"/>
                  </a:cubicBezTo>
                  <a:cubicBezTo>
                    <a:pt x="721" y="1530"/>
                    <a:pt x="662" y="1495"/>
                    <a:pt x="609" y="1454"/>
                  </a:cubicBezTo>
                  <a:cubicBezTo>
                    <a:pt x="647" y="1404"/>
                    <a:pt x="647" y="1404"/>
                    <a:pt x="647" y="1404"/>
                  </a:cubicBezTo>
                  <a:cubicBezTo>
                    <a:pt x="646" y="1403"/>
                    <a:pt x="646" y="1403"/>
                    <a:pt x="646" y="1403"/>
                  </a:cubicBezTo>
                  <a:cubicBezTo>
                    <a:pt x="608" y="1453"/>
                    <a:pt x="608" y="1453"/>
                    <a:pt x="608" y="1453"/>
                  </a:cubicBezTo>
                  <a:cubicBezTo>
                    <a:pt x="582" y="1433"/>
                    <a:pt x="557" y="1412"/>
                    <a:pt x="534" y="1389"/>
                  </a:cubicBezTo>
                  <a:cubicBezTo>
                    <a:pt x="462" y="1316"/>
                    <a:pt x="404" y="1230"/>
                    <a:pt x="365" y="1134"/>
                  </a:cubicBezTo>
                  <a:cubicBezTo>
                    <a:pt x="461" y="1094"/>
                    <a:pt x="461" y="1094"/>
                    <a:pt x="461" y="1094"/>
                  </a:cubicBezTo>
                  <a:cubicBezTo>
                    <a:pt x="461" y="1093"/>
                    <a:pt x="461" y="1093"/>
                    <a:pt x="461" y="1093"/>
                  </a:cubicBezTo>
                  <a:cubicBezTo>
                    <a:pt x="364" y="1133"/>
                    <a:pt x="364" y="1133"/>
                    <a:pt x="364" y="1133"/>
                  </a:cubicBezTo>
                  <a:cubicBezTo>
                    <a:pt x="327" y="1042"/>
                    <a:pt x="306" y="943"/>
                    <a:pt x="306" y="839"/>
                  </a:cubicBezTo>
                  <a:cubicBezTo>
                    <a:pt x="306" y="839"/>
                    <a:pt x="306" y="839"/>
                    <a:pt x="306" y="839"/>
                  </a:cubicBezTo>
                  <a:cubicBezTo>
                    <a:pt x="306" y="839"/>
                    <a:pt x="306" y="839"/>
                    <a:pt x="306" y="839"/>
                  </a:cubicBezTo>
                  <a:cubicBezTo>
                    <a:pt x="306" y="839"/>
                    <a:pt x="306" y="839"/>
                    <a:pt x="306" y="839"/>
                  </a:cubicBezTo>
                  <a:cubicBezTo>
                    <a:pt x="306" y="839"/>
                    <a:pt x="306" y="839"/>
                    <a:pt x="306" y="839"/>
                  </a:cubicBezTo>
                  <a:cubicBezTo>
                    <a:pt x="306" y="804"/>
                    <a:pt x="308" y="770"/>
                    <a:pt x="313" y="737"/>
                  </a:cubicBezTo>
                  <a:cubicBezTo>
                    <a:pt x="374" y="745"/>
                    <a:pt x="374" y="745"/>
                    <a:pt x="374" y="745"/>
                  </a:cubicBezTo>
                  <a:cubicBezTo>
                    <a:pt x="374" y="743"/>
                    <a:pt x="374" y="743"/>
                    <a:pt x="374" y="743"/>
                  </a:cubicBezTo>
                  <a:cubicBezTo>
                    <a:pt x="313" y="735"/>
                    <a:pt x="313" y="735"/>
                    <a:pt x="313" y="735"/>
                  </a:cubicBezTo>
                  <a:cubicBezTo>
                    <a:pt x="322" y="667"/>
                    <a:pt x="340" y="602"/>
                    <a:pt x="365" y="541"/>
                  </a:cubicBezTo>
                  <a:cubicBezTo>
                    <a:pt x="421" y="564"/>
                    <a:pt x="421" y="564"/>
                    <a:pt x="421" y="564"/>
                  </a:cubicBezTo>
                  <a:cubicBezTo>
                    <a:pt x="422" y="562"/>
                    <a:pt x="422" y="562"/>
                    <a:pt x="422" y="562"/>
                  </a:cubicBezTo>
                  <a:cubicBezTo>
                    <a:pt x="366" y="539"/>
                    <a:pt x="366" y="539"/>
                    <a:pt x="366" y="539"/>
                  </a:cubicBezTo>
                  <a:cubicBezTo>
                    <a:pt x="405" y="445"/>
                    <a:pt x="463" y="360"/>
                    <a:pt x="534" y="289"/>
                  </a:cubicBezTo>
                  <a:cubicBezTo>
                    <a:pt x="558" y="265"/>
                    <a:pt x="583" y="243"/>
                    <a:pt x="609" y="222"/>
                  </a:cubicBezTo>
                  <a:cubicBezTo>
                    <a:pt x="611" y="224"/>
                    <a:pt x="611" y="224"/>
                    <a:pt x="611" y="224"/>
                  </a:cubicBezTo>
                  <a:cubicBezTo>
                    <a:pt x="673" y="176"/>
                    <a:pt x="743" y="137"/>
                    <a:pt x="820" y="109"/>
                  </a:cubicBezTo>
                  <a:cubicBezTo>
                    <a:pt x="820" y="109"/>
                    <a:pt x="820" y="109"/>
                    <a:pt x="820" y="109"/>
                  </a:cubicBezTo>
                  <a:cubicBezTo>
                    <a:pt x="820" y="109"/>
                    <a:pt x="820" y="109"/>
                    <a:pt x="820" y="109"/>
                  </a:cubicBezTo>
                  <a:cubicBezTo>
                    <a:pt x="820" y="109"/>
                    <a:pt x="820" y="109"/>
                    <a:pt x="820" y="109"/>
                  </a:cubicBezTo>
                  <a:cubicBezTo>
                    <a:pt x="873" y="90"/>
                    <a:pt x="927" y="77"/>
                    <a:pt x="981" y="70"/>
                  </a:cubicBezTo>
                  <a:cubicBezTo>
                    <a:pt x="988" y="128"/>
                    <a:pt x="988" y="128"/>
                    <a:pt x="988" y="128"/>
                  </a:cubicBezTo>
                  <a:cubicBezTo>
                    <a:pt x="990" y="127"/>
                    <a:pt x="990" y="127"/>
                    <a:pt x="990" y="127"/>
                  </a:cubicBezTo>
                  <a:cubicBezTo>
                    <a:pt x="982" y="69"/>
                    <a:pt x="982" y="69"/>
                    <a:pt x="982" y="69"/>
                  </a:cubicBezTo>
                  <a:cubicBezTo>
                    <a:pt x="985" y="69"/>
                    <a:pt x="988" y="69"/>
                    <a:pt x="991" y="68"/>
                  </a:cubicBezTo>
                  <a:cubicBezTo>
                    <a:pt x="1048" y="61"/>
                    <a:pt x="1105" y="61"/>
                    <a:pt x="1161" y="67"/>
                  </a:cubicBezTo>
                  <a:cubicBezTo>
                    <a:pt x="1168" y="67"/>
                    <a:pt x="1175" y="68"/>
                    <a:pt x="1182" y="69"/>
                  </a:cubicBezTo>
                  <a:cubicBezTo>
                    <a:pt x="1171" y="153"/>
                    <a:pt x="1171" y="153"/>
                    <a:pt x="1171" y="153"/>
                  </a:cubicBezTo>
                  <a:cubicBezTo>
                    <a:pt x="1173" y="153"/>
                    <a:pt x="1173" y="153"/>
                    <a:pt x="1173" y="153"/>
                  </a:cubicBezTo>
                  <a:cubicBezTo>
                    <a:pt x="1184" y="67"/>
                    <a:pt x="1184" y="67"/>
                    <a:pt x="1184" y="67"/>
                  </a:cubicBezTo>
                  <a:cubicBezTo>
                    <a:pt x="1252" y="76"/>
                    <a:pt x="1318" y="93"/>
                    <a:pt x="1379" y="119"/>
                  </a:cubicBezTo>
                  <a:cubicBezTo>
                    <a:pt x="1346" y="199"/>
                    <a:pt x="1346" y="199"/>
                    <a:pt x="1346" y="199"/>
                  </a:cubicBezTo>
                  <a:cubicBezTo>
                    <a:pt x="1347" y="199"/>
                    <a:pt x="1347" y="199"/>
                    <a:pt x="1347" y="199"/>
                  </a:cubicBezTo>
                  <a:cubicBezTo>
                    <a:pt x="1381" y="119"/>
                    <a:pt x="1381" y="119"/>
                    <a:pt x="1381" y="119"/>
                  </a:cubicBezTo>
                  <a:cubicBezTo>
                    <a:pt x="1443" y="145"/>
                    <a:pt x="1502" y="179"/>
                    <a:pt x="1555" y="219"/>
                  </a:cubicBezTo>
                  <a:cubicBezTo>
                    <a:pt x="1502" y="289"/>
                    <a:pt x="1502" y="289"/>
                    <a:pt x="1502" y="289"/>
                  </a:cubicBezTo>
                  <a:cubicBezTo>
                    <a:pt x="1503" y="290"/>
                    <a:pt x="1503" y="290"/>
                    <a:pt x="1503" y="290"/>
                  </a:cubicBezTo>
                  <a:cubicBezTo>
                    <a:pt x="1556" y="220"/>
                    <a:pt x="1556" y="220"/>
                    <a:pt x="1556" y="220"/>
                  </a:cubicBezTo>
                  <a:cubicBezTo>
                    <a:pt x="1584" y="241"/>
                    <a:pt x="1610" y="264"/>
                    <a:pt x="1634" y="289"/>
                  </a:cubicBezTo>
                  <a:cubicBezTo>
                    <a:pt x="1661" y="315"/>
                    <a:pt x="1686" y="344"/>
                    <a:pt x="1709" y="375"/>
                  </a:cubicBezTo>
                  <a:cubicBezTo>
                    <a:pt x="1711" y="374"/>
                    <a:pt x="1711" y="374"/>
                    <a:pt x="1711" y="374"/>
                  </a:cubicBezTo>
                  <a:cubicBezTo>
                    <a:pt x="1688" y="343"/>
                    <a:pt x="1663" y="314"/>
                    <a:pt x="1636" y="287"/>
                  </a:cubicBezTo>
                  <a:cubicBezTo>
                    <a:pt x="1611" y="262"/>
                    <a:pt x="1585" y="239"/>
                    <a:pt x="1558" y="218"/>
                  </a:cubicBezTo>
                  <a:cubicBezTo>
                    <a:pt x="1566" y="207"/>
                    <a:pt x="1566" y="207"/>
                    <a:pt x="1566" y="207"/>
                  </a:cubicBezTo>
                  <a:cubicBezTo>
                    <a:pt x="1673" y="289"/>
                    <a:pt x="1761" y="399"/>
                    <a:pt x="1816" y="531"/>
                  </a:cubicBezTo>
                  <a:cubicBezTo>
                    <a:pt x="1743" y="562"/>
                    <a:pt x="1743" y="562"/>
                    <a:pt x="1743" y="562"/>
                  </a:cubicBezTo>
                  <a:cubicBezTo>
                    <a:pt x="1743" y="564"/>
                    <a:pt x="1743" y="564"/>
                    <a:pt x="1743" y="564"/>
                  </a:cubicBezTo>
                  <a:cubicBezTo>
                    <a:pt x="1817" y="533"/>
                    <a:pt x="1817" y="533"/>
                    <a:pt x="1817" y="533"/>
                  </a:cubicBezTo>
                  <a:cubicBezTo>
                    <a:pt x="1822" y="545"/>
                    <a:pt x="1827" y="557"/>
                    <a:pt x="1831" y="569"/>
                  </a:cubicBezTo>
                  <a:cubicBezTo>
                    <a:pt x="1831" y="569"/>
                    <a:pt x="1831" y="569"/>
                    <a:pt x="1831" y="569"/>
                  </a:cubicBezTo>
                  <a:cubicBezTo>
                    <a:pt x="1831" y="569"/>
                    <a:pt x="1831" y="569"/>
                    <a:pt x="1831" y="569"/>
                  </a:cubicBezTo>
                  <a:cubicBezTo>
                    <a:pt x="1831" y="569"/>
                    <a:pt x="1831" y="569"/>
                    <a:pt x="1831" y="569"/>
                  </a:cubicBezTo>
                  <a:cubicBezTo>
                    <a:pt x="1831" y="569"/>
                    <a:pt x="1831" y="569"/>
                    <a:pt x="1831" y="569"/>
                  </a:cubicBezTo>
                  <a:cubicBezTo>
                    <a:pt x="1851" y="623"/>
                    <a:pt x="1864" y="677"/>
                    <a:pt x="1871" y="732"/>
                  </a:cubicBezTo>
                  <a:cubicBezTo>
                    <a:pt x="1765" y="746"/>
                    <a:pt x="1765" y="746"/>
                    <a:pt x="1765" y="746"/>
                  </a:cubicBezTo>
                  <a:cubicBezTo>
                    <a:pt x="1766" y="748"/>
                    <a:pt x="1766" y="748"/>
                    <a:pt x="1766" y="748"/>
                  </a:cubicBezTo>
                  <a:cubicBezTo>
                    <a:pt x="1871" y="734"/>
                    <a:pt x="1871" y="734"/>
                    <a:pt x="1871" y="734"/>
                  </a:cubicBezTo>
                  <a:cubicBezTo>
                    <a:pt x="1890" y="874"/>
                    <a:pt x="1871" y="1013"/>
                    <a:pt x="1819" y="1140"/>
                  </a:cubicBezTo>
                  <a:cubicBezTo>
                    <a:pt x="1804" y="1134"/>
                    <a:pt x="1804" y="1134"/>
                    <a:pt x="1804" y="1134"/>
                  </a:cubicBezTo>
                  <a:cubicBezTo>
                    <a:pt x="1804" y="1135"/>
                    <a:pt x="1804" y="1135"/>
                    <a:pt x="1804" y="1135"/>
                  </a:cubicBezTo>
                  <a:cubicBezTo>
                    <a:pt x="1744" y="1110"/>
                    <a:pt x="1744" y="1110"/>
                    <a:pt x="1744" y="1110"/>
                  </a:cubicBezTo>
                  <a:cubicBezTo>
                    <a:pt x="1743" y="1111"/>
                    <a:pt x="1743" y="1111"/>
                    <a:pt x="1743" y="1111"/>
                  </a:cubicBezTo>
                  <a:cubicBezTo>
                    <a:pt x="1803" y="1136"/>
                    <a:pt x="1803" y="1136"/>
                    <a:pt x="1803" y="1136"/>
                  </a:cubicBezTo>
                  <a:cubicBezTo>
                    <a:pt x="1803" y="1137"/>
                    <a:pt x="1803" y="1137"/>
                    <a:pt x="1803" y="1137"/>
                  </a:cubicBezTo>
                  <a:cubicBezTo>
                    <a:pt x="1803" y="1137"/>
                    <a:pt x="1803" y="1137"/>
                    <a:pt x="1803" y="1137"/>
                  </a:cubicBezTo>
                  <a:cubicBezTo>
                    <a:pt x="1777" y="1200"/>
                    <a:pt x="1743" y="1258"/>
                    <a:pt x="1702" y="1311"/>
                  </a:cubicBezTo>
                  <a:cubicBezTo>
                    <a:pt x="1616" y="1244"/>
                    <a:pt x="1616" y="1244"/>
                    <a:pt x="1616" y="1244"/>
                  </a:cubicBezTo>
                  <a:cubicBezTo>
                    <a:pt x="1615" y="1246"/>
                    <a:pt x="1615" y="1246"/>
                    <a:pt x="1615" y="1246"/>
                  </a:cubicBezTo>
                  <a:cubicBezTo>
                    <a:pt x="1701" y="1312"/>
                    <a:pt x="1701" y="1312"/>
                    <a:pt x="1701" y="1312"/>
                  </a:cubicBezTo>
                  <a:cubicBezTo>
                    <a:pt x="1681" y="1339"/>
                    <a:pt x="1658" y="1365"/>
                    <a:pt x="1634" y="1389"/>
                  </a:cubicBezTo>
                  <a:cubicBezTo>
                    <a:pt x="1610" y="1413"/>
                    <a:pt x="1585" y="1435"/>
                    <a:pt x="1558" y="1456"/>
                  </a:cubicBezTo>
                  <a:cubicBezTo>
                    <a:pt x="1503" y="1384"/>
                    <a:pt x="1503" y="1384"/>
                    <a:pt x="1503" y="1384"/>
                  </a:cubicBezTo>
                  <a:cubicBezTo>
                    <a:pt x="1502" y="1385"/>
                    <a:pt x="1502" y="1385"/>
                    <a:pt x="1502" y="1385"/>
                  </a:cubicBezTo>
                  <a:cubicBezTo>
                    <a:pt x="1557" y="1457"/>
                    <a:pt x="1557" y="1457"/>
                    <a:pt x="1557" y="1457"/>
                  </a:cubicBezTo>
                  <a:cubicBezTo>
                    <a:pt x="1550" y="1462"/>
                    <a:pt x="1543" y="1467"/>
                    <a:pt x="1536" y="1472"/>
                  </a:cubicBezTo>
                  <a:cubicBezTo>
                    <a:pt x="1544" y="1484"/>
                    <a:pt x="1552" y="1495"/>
                    <a:pt x="1561" y="1506"/>
                  </a:cubicBezTo>
                  <a:cubicBezTo>
                    <a:pt x="1510" y="1542"/>
                    <a:pt x="1456" y="1573"/>
                    <a:pt x="1398" y="1597"/>
                  </a:cubicBezTo>
                  <a:cubicBezTo>
                    <a:pt x="1347" y="1474"/>
                    <a:pt x="1347" y="1474"/>
                    <a:pt x="1347" y="1474"/>
                  </a:cubicBezTo>
                  <a:cubicBezTo>
                    <a:pt x="1346" y="1474"/>
                    <a:pt x="1346" y="1474"/>
                    <a:pt x="1346" y="1474"/>
                  </a:cubicBezTo>
                  <a:cubicBezTo>
                    <a:pt x="1397" y="1597"/>
                    <a:pt x="1397" y="1597"/>
                    <a:pt x="1397" y="1597"/>
                  </a:cubicBezTo>
                  <a:cubicBezTo>
                    <a:pt x="1376" y="1606"/>
                    <a:pt x="1355" y="1613"/>
                    <a:pt x="1333" y="1620"/>
                  </a:cubicBezTo>
                  <a:cubicBezTo>
                    <a:pt x="1382" y="1620"/>
                    <a:pt x="1382" y="1620"/>
                    <a:pt x="1382" y="1620"/>
                  </a:cubicBezTo>
                  <a:cubicBezTo>
                    <a:pt x="1389" y="1618"/>
                    <a:pt x="1396" y="1615"/>
                    <a:pt x="1403" y="1612"/>
                  </a:cubicBezTo>
                  <a:cubicBezTo>
                    <a:pt x="1406" y="1620"/>
                    <a:pt x="1406" y="1620"/>
                    <a:pt x="1406" y="1620"/>
                  </a:cubicBezTo>
                  <a:cubicBezTo>
                    <a:pt x="1408" y="1620"/>
                    <a:pt x="1408" y="1620"/>
                    <a:pt x="1408" y="1620"/>
                  </a:cubicBezTo>
                  <a:cubicBezTo>
                    <a:pt x="1404" y="1611"/>
                    <a:pt x="1404" y="1611"/>
                    <a:pt x="1404" y="1611"/>
                  </a:cubicBezTo>
                  <a:cubicBezTo>
                    <a:pt x="1471" y="1584"/>
                    <a:pt x="1533" y="1548"/>
                    <a:pt x="1590" y="1505"/>
                  </a:cubicBezTo>
                  <a:cubicBezTo>
                    <a:pt x="1590" y="1505"/>
                    <a:pt x="1592" y="1504"/>
                    <a:pt x="1592" y="1503"/>
                  </a:cubicBezTo>
                  <a:cubicBezTo>
                    <a:pt x="1613" y="1530"/>
                    <a:pt x="1613" y="1530"/>
                    <a:pt x="1613" y="1530"/>
                  </a:cubicBezTo>
                  <a:cubicBezTo>
                    <a:pt x="1568" y="1565"/>
                    <a:pt x="1520" y="1595"/>
                    <a:pt x="1468" y="1620"/>
                  </a:cubicBezTo>
                  <a:cubicBezTo>
                    <a:pt x="1478" y="1620"/>
                    <a:pt x="1478" y="1620"/>
                    <a:pt x="1478" y="1620"/>
                  </a:cubicBezTo>
                  <a:cubicBezTo>
                    <a:pt x="1527" y="1596"/>
                    <a:pt x="1573" y="1567"/>
                    <a:pt x="1616" y="1534"/>
                  </a:cubicBezTo>
                  <a:cubicBezTo>
                    <a:pt x="1655" y="1584"/>
                    <a:pt x="1655" y="1584"/>
                    <a:pt x="1655" y="1584"/>
                  </a:cubicBezTo>
                  <a:cubicBezTo>
                    <a:pt x="1639" y="1597"/>
                    <a:pt x="1622" y="1609"/>
                    <a:pt x="1605" y="1620"/>
                  </a:cubicBezTo>
                  <a:cubicBezTo>
                    <a:pt x="1642" y="1620"/>
                    <a:pt x="1642" y="1620"/>
                    <a:pt x="1642" y="1620"/>
                  </a:cubicBezTo>
                  <a:cubicBezTo>
                    <a:pt x="1650" y="1614"/>
                    <a:pt x="1659" y="1608"/>
                    <a:pt x="1668" y="1601"/>
                  </a:cubicBezTo>
                  <a:cubicBezTo>
                    <a:pt x="1673" y="1607"/>
                    <a:pt x="1673" y="1607"/>
                    <a:pt x="1673" y="1607"/>
                  </a:cubicBezTo>
                  <a:cubicBezTo>
                    <a:pt x="1674" y="1606"/>
                    <a:pt x="1674" y="1606"/>
                    <a:pt x="1674" y="1606"/>
                  </a:cubicBezTo>
                  <a:cubicBezTo>
                    <a:pt x="1669" y="1600"/>
                    <a:pt x="1669" y="1600"/>
                    <a:pt x="1669" y="1600"/>
                  </a:cubicBezTo>
                  <a:cubicBezTo>
                    <a:pt x="1735" y="1549"/>
                    <a:pt x="1795" y="1489"/>
                    <a:pt x="1846" y="1423"/>
                  </a:cubicBezTo>
                  <a:cubicBezTo>
                    <a:pt x="1847" y="1422"/>
                    <a:pt x="1847" y="1422"/>
                    <a:pt x="1847" y="1422"/>
                  </a:cubicBezTo>
                  <a:cubicBezTo>
                    <a:pt x="1846" y="1422"/>
                    <a:pt x="1846" y="1422"/>
                    <a:pt x="1846" y="1422"/>
                  </a:cubicBezTo>
                  <a:cubicBezTo>
                    <a:pt x="1831" y="1410"/>
                    <a:pt x="1831" y="1410"/>
                    <a:pt x="1831" y="1410"/>
                  </a:cubicBezTo>
                  <a:cubicBezTo>
                    <a:pt x="1953" y="1251"/>
                    <a:pt x="2026" y="1052"/>
                    <a:pt x="2026" y="836"/>
                  </a:cubicBezTo>
                  <a:cubicBezTo>
                    <a:pt x="2026" y="836"/>
                    <a:pt x="2026" y="836"/>
                    <a:pt x="2026" y="836"/>
                  </a:cubicBezTo>
                  <a:cubicBezTo>
                    <a:pt x="2026" y="836"/>
                    <a:pt x="2026" y="836"/>
                    <a:pt x="2026" y="836"/>
                  </a:cubicBezTo>
                  <a:cubicBezTo>
                    <a:pt x="2026" y="795"/>
                    <a:pt x="2023" y="754"/>
                    <a:pt x="2018" y="714"/>
                  </a:cubicBezTo>
                  <a:cubicBezTo>
                    <a:pt x="2120" y="701"/>
                    <a:pt x="2120" y="701"/>
                    <a:pt x="2120" y="701"/>
                  </a:cubicBezTo>
                  <a:cubicBezTo>
                    <a:pt x="2120" y="699"/>
                    <a:pt x="2120" y="699"/>
                    <a:pt x="2120" y="699"/>
                  </a:cubicBezTo>
                  <a:cubicBezTo>
                    <a:pt x="2018" y="713"/>
                    <a:pt x="2018" y="713"/>
                    <a:pt x="2018" y="713"/>
                  </a:cubicBezTo>
                  <a:cubicBezTo>
                    <a:pt x="2009" y="649"/>
                    <a:pt x="1995" y="587"/>
                    <a:pt x="1974" y="527"/>
                  </a:cubicBezTo>
                  <a:cubicBezTo>
                    <a:pt x="1969" y="512"/>
                    <a:pt x="1963" y="496"/>
                    <a:pt x="1957" y="481"/>
                  </a:cubicBezTo>
                  <a:cubicBezTo>
                    <a:pt x="1956" y="479"/>
                    <a:pt x="1955" y="478"/>
                    <a:pt x="1955" y="476"/>
                  </a:cubicBezTo>
                  <a:cubicBezTo>
                    <a:pt x="2120" y="407"/>
                    <a:pt x="2120" y="407"/>
                    <a:pt x="2120" y="407"/>
                  </a:cubicBezTo>
                  <a:cubicBezTo>
                    <a:pt x="2120" y="406"/>
                    <a:pt x="2120" y="406"/>
                    <a:pt x="2120" y="406"/>
                  </a:cubicBezTo>
                  <a:cubicBezTo>
                    <a:pt x="1954" y="474"/>
                    <a:pt x="1954" y="474"/>
                    <a:pt x="1954" y="474"/>
                  </a:cubicBezTo>
                  <a:cubicBezTo>
                    <a:pt x="1922" y="398"/>
                    <a:pt x="1881" y="327"/>
                    <a:pt x="1831" y="262"/>
                  </a:cubicBezTo>
                  <a:cubicBezTo>
                    <a:pt x="1846" y="251"/>
                    <a:pt x="1846" y="251"/>
                    <a:pt x="1846" y="251"/>
                  </a:cubicBezTo>
                  <a:cubicBezTo>
                    <a:pt x="1847" y="250"/>
                    <a:pt x="1847" y="250"/>
                    <a:pt x="1847" y="250"/>
                  </a:cubicBezTo>
                  <a:cubicBezTo>
                    <a:pt x="1846" y="250"/>
                    <a:pt x="1846" y="250"/>
                    <a:pt x="1846" y="250"/>
                  </a:cubicBezTo>
                  <a:cubicBezTo>
                    <a:pt x="1846" y="250"/>
                    <a:pt x="1846" y="250"/>
                    <a:pt x="1846" y="250"/>
                  </a:cubicBezTo>
                  <a:cubicBezTo>
                    <a:pt x="1821" y="218"/>
                    <a:pt x="1795" y="187"/>
                    <a:pt x="1766" y="158"/>
                  </a:cubicBezTo>
                  <a:cubicBezTo>
                    <a:pt x="1738" y="130"/>
                    <a:pt x="1708" y="103"/>
                    <a:pt x="1676" y="78"/>
                  </a:cubicBezTo>
                  <a:cubicBezTo>
                    <a:pt x="1674" y="76"/>
                    <a:pt x="1672" y="74"/>
                    <a:pt x="1669" y="73"/>
                  </a:cubicBezTo>
                  <a:cubicBezTo>
                    <a:pt x="1724" y="1"/>
                    <a:pt x="1724" y="1"/>
                    <a:pt x="1724" y="1"/>
                  </a:cubicBezTo>
                  <a:cubicBezTo>
                    <a:pt x="1723" y="0"/>
                    <a:pt x="1723" y="0"/>
                    <a:pt x="1723" y="0"/>
                  </a:cubicBezTo>
                  <a:cubicBezTo>
                    <a:pt x="1668" y="72"/>
                    <a:pt x="1668" y="72"/>
                    <a:pt x="1668" y="72"/>
                  </a:cubicBezTo>
                  <a:cubicBezTo>
                    <a:pt x="1634" y="45"/>
                    <a:pt x="1598" y="22"/>
                    <a:pt x="1560" y="0"/>
                  </a:cubicBezTo>
                  <a:cubicBezTo>
                    <a:pt x="1517" y="0"/>
                    <a:pt x="1517" y="0"/>
                    <a:pt x="1517" y="0"/>
                  </a:cubicBezTo>
                  <a:cubicBezTo>
                    <a:pt x="1534" y="9"/>
                    <a:pt x="1550" y="18"/>
                    <a:pt x="1566" y="27"/>
                  </a:cubicBezTo>
                  <a:cubicBezTo>
                    <a:pt x="1597" y="46"/>
                    <a:pt x="1627" y="66"/>
                    <a:pt x="1655" y="88"/>
                  </a:cubicBezTo>
                  <a:cubicBezTo>
                    <a:pt x="1616" y="140"/>
                    <a:pt x="1616" y="140"/>
                    <a:pt x="1616" y="140"/>
                  </a:cubicBezTo>
                  <a:cubicBezTo>
                    <a:pt x="1593" y="122"/>
                    <a:pt x="1570" y="106"/>
                    <a:pt x="1546" y="91"/>
                  </a:cubicBezTo>
                  <a:cubicBezTo>
                    <a:pt x="1506" y="66"/>
                    <a:pt x="1464" y="44"/>
                    <a:pt x="1420" y="26"/>
                  </a:cubicBezTo>
                  <a:cubicBezTo>
                    <a:pt x="1431" y="0"/>
                    <a:pt x="1431" y="0"/>
                    <a:pt x="1431" y="0"/>
                  </a:cubicBezTo>
                  <a:cubicBezTo>
                    <a:pt x="1427" y="0"/>
                    <a:pt x="1427" y="0"/>
                    <a:pt x="1427" y="0"/>
                  </a:cubicBezTo>
                  <a:cubicBezTo>
                    <a:pt x="1379" y="116"/>
                    <a:pt x="1379" y="116"/>
                    <a:pt x="1379" y="116"/>
                  </a:cubicBezTo>
                  <a:cubicBezTo>
                    <a:pt x="1318" y="91"/>
                    <a:pt x="1253" y="73"/>
                    <a:pt x="1185" y="65"/>
                  </a:cubicBezTo>
                  <a:cubicBezTo>
                    <a:pt x="1193" y="0"/>
                    <a:pt x="1193" y="0"/>
                    <a:pt x="1193" y="0"/>
                  </a:cubicBezTo>
                  <a:cubicBezTo>
                    <a:pt x="1192" y="0"/>
                    <a:pt x="1192" y="0"/>
                    <a:pt x="1192" y="0"/>
                  </a:cubicBezTo>
                  <a:cubicBezTo>
                    <a:pt x="1184" y="59"/>
                    <a:pt x="1184" y="59"/>
                    <a:pt x="1184" y="59"/>
                  </a:cubicBezTo>
                  <a:cubicBezTo>
                    <a:pt x="1177" y="59"/>
                    <a:pt x="1169" y="58"/>
                    <a:pt x="1162" y="57"/>
                  </a:cubicBezTo>
                  <a:cubicBezTo>
                    <a:pt x="1106" y="51"/>
                    <a:pt x="1048" y="52"/>
                    <a:pt x="990" y="59"/>
                  </a:cubicBezTo>
                  <a:cubicBezTo>
                    <a:pt x="987" y="59"/>
                    <a:pt x="985" y="59"/>
                    <a:pt x="982" y="60"/>
                  </a:cubicBezTo>
                  <a:cubicBezTo>
                    <a:pt x="974" y="4"/>
                    <a:pt x="974" y="4"/>
                    <a:pt x="974" y="4"/>
                  </a:cubicBezTo>
                  <a:cubicBezTo>
                    <a:pt x="974" y="3"/>
                    <a:pt x="974" y="3"/>
                    <a:pt x="974" y="3"/>
                  </a:cubicBezTo>
                  <a:cubicBezTo>
                    <a:pt x="973" y="3"/>
                    <a:pt x="973" y="3"/>
                    <a:pt x="973" y="3"/>
                  </a:cubicBezTo>
                  <a:cubicBezTo>
                    <a:pt x="899" y="13"/>
                    <a:pt x="828" y="32"/>
                    <a:pt x="761" y="60"/>
                  </a:cubicBezTo>
                  <a:cubicBezTo>
                    <a:pt x="737" y="0"/>
                    <a:pt x="737" y="0"/>
                    <a:pt x="737" y="0"/>
                  </a:cubicBezTo>
                  <a:cubicBezTo>
                    <a:pt x="735" y="0"/>
                    <a:pt x="735" y="0"/>
                    <a:pt x="735" y="0"/>
                  </a:cubicBezTo>
                  <a:cubicBezTo>
                    <a:pt x="760" y="61"/>
                    <a:pt x="760" y="61"/>
                    <a:pt x="760" y="61"/>
                  </a:cubicBezTo>
                  <a:cubicBezTo>
                    <a:pt x="692" y="89"/>
                    <a:pt x="629" y="125"/>
                    <a:pt x="572" y="169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88" y="68"/>
                    <a:pt x="653" y="30"/>
                    <a:pt x="723" y="0"/>
                  </a:cubicBezTo>
                  <a:cubicBezTo>
                    <a:pt x="715" y="0"/>
                    <a:pt x="715" y="0"/>
                    <a:pt x="715" y="0"/>
                  </a:cubicBezTo>
                  <a:cubicBezTo>
                    <a:pt x="648" y="30"/>
                    <a:pt x="585" y="67"/>
                    <a:pt x="527" y="111"/>
                  </a:cubicBezTo>
                  <a:cubicBezTo>
                    <a:pt x="497" y="72"/>
                    <a:pt x="497" y="72"/>
                    <a:pt x="497" y="72"/>
                  </a:cubicBezTo>
                  <a:cubicBezTo>
                    <a:pt x="532" y="46"/>
                    <a:pt x="568" y="22"/>
                    <a:pt x="606" y="0"/>
                  </a:cubicBezTo>
                  <a:cubicBezTo>
                    <a:pt x="603" y="0"/>
                    <a:pt x="603" y="0"/>
                    <a:pt x="603" y="0"/>
                  </a:cubicBezTo>
                  <a:cubicBezTo>
                    <a:pt x="566" y="21"/>
                    <a:pt x="530" y="45"/>
                    <a:pt x="496" y="71"/>
                  </a:cubicBezTo>
                  <a:cubicBezTo>
                    <a:pt x="442" y="0"/>
                    <a:pt x="442" y="0"/>
                    <a:pt x="442" y="0"/>
                  </a:cubicBezTo>
                  <a:cubicBezTo>
                    <a:pt x="440" y="0"/>
                    <a:pt x="440" y="0"/>
                    <a:pt x="440" y="0"/>
                  </a:cubicBezTo>
                  <a:cubicBezTo>
                    <a:pt x="495" y="72"/>
                    <a:pt x="495" y="72"/>
                    <a:pt x="495" y="72"/>
                  </a:cubicBezTo>
                  <a:cubicBezTo>
                    <a:pt x="362" y="174"/>
                    <a:pt x="257" y="310"/>
                    <a:pt x="192" y="467"/>
                  </a:cubicBezTo>
                  <a:cubicBezTo>
                    <a:pt x="95" y="427"/>
                    <a:pt x="95" y="427"/>
                    <a:pt x="95" y="427"/>
                  </a:cubicBezTo>
                  <a:cubicBezTo>
                    <a:pt x="94" y="428"/>
                    <a:pt x="94" y="428"/>
                    <a:pt x="94" y="428"/>
                  </a:cubicBezTo>
                  <a:cubicBezTo>
                    <a:pt x="191" y="468"/>
                    <a:pt x="191" y="468"/>
                    <a:pt x="191" y="468"/>
                  </a:cubicBezTo>
                  <a:cubicBezTo>
                    <a:pt x="164" y="533"/>
                    <a:pt x="144" y="602"/>
                    <a:pt x="132" y="673"/>
                  </a:cubicBezTo>
                  <a:cubicBezTo>
                    <a:pt x="132" y="674"/>
                    <a:pt x="132" y="675"/>
                    <a:pt x="131" y="676"/>
                  </a:cubicBezTo>
                  <a:cubicBezTo>
                    <a:pt x="129" y="692"/>
                    <a:pt x="127" y="707"/>
                    <a:pt x="125" y="723"/>
                  </a:cubicBezTo>
                  <a:cubicBezTo>
                    <a:pt x="125" y="723"/>
                    <a:pt x="125" y="723"/>
                    <a:pt x="125" y="723"/>
                  </a:cubicBezTo>
                  <a:cubicBezTo>
                    <a:pt x="120" y="760"/>
                    <a:pt x="118" y="798"/>
                    <a:pt x="118" y="836"/>
                  </a:cubicBezTo>
                  <a:cubicBezTo>
                    <a:pt x="118" y="836"/>
                    <a:pt x="118" y="836"/>
                    <a:pt x="118" y="836"/>
                  </a:cubicBezTo>
                  <a:cubicBezTo>
                    <a:pt x="118" y="836"/>
                    <a:pt x="118" y="836"/>
                    <a:pt x="118" y="836"/>
                  </a:cubicBezTo>
                  <a:cubicBezTo>
                    <a:pt x="118" y="879"/>
                    <a:pt x="121" y="920"/>
                    <a:pt x="126" y="961"/>
                  </a:cubicBezTo>
                  <a:cubicBezTo>
                    <a:pt x="0" y="978"/>
                    <a:pt x="0" y="978"/>
                    <a:pt x="0" y="978"/>
                  </a:cubicBezTo>
                  <a:lnTo>
                    <a:pt x="0" y="980"/>
                  </a:lnTo>
                  <a:close/>
                  <a:moveTo>
                    <a:pt x="332" y="1411"/>
                  </a:moveTo>
                  <a:cubicBezTo>
                    <a:pt x="346" y="1428"/>
                    <a:pt x="359" y="1444"/>
                    <a:pt x="373" y="1460"/>
                  </a:cubicBezTo>
                  <a:cubicBezTo>
                    <a:pt x="387" y="1476"/>
                    <a:pt x="402" y="1492"/>
                    <a:pt x="418" y="1507"/>
                  </a:cubicBezTo>
                  <a:cubicBezTo>
                    <a:pt x="445" y="1535"/>
                    <a:pt x="475" y="1561"/>
                    <a:pt x="506" y="1584"/>
                  </a:cubicBezTo>
                  <a:cubicBezTo>
                    <a:pt x="495" y="1599"/>
                    <a:pt x="495" y="1599"/>
                    <a:pt x="495" y="1599"/>
                  </a:cubicBezTo>
                  <a:cubicBezTo>
                    <a:pt x="446" y="1561"/>
                    <a:pt x="401" y="1519"/>
                    <a:pt x="360" y="1473"/>
                  </a:cubicBezTo>
                  <a:cubicBezTo>
                    <a:pt x="346" y="1456"/>
                    <a:pt x="332" y="1439"/>
                    <a:pt x="319" y="1422"/>
                  </a:cubicBezTo>
                  <a:lnTo>
                    <a:pt x="332" y="1411"/>
                  </a:lnTo>
                  <a:close/>
                  <a:moveTo>
                    <a:pt x="1715" y="352"/>
                  </a:moveTo>
                  <a:cubicBezTo>
                    <a:pt x="1776" y="306"/>
                    <a:pt x="1776" y="306"/>
                    <a:pt x="1776" y="306"/>
                  </a:cubicBezTo>
                  <a:cubicBezTo>
                    <a:pt x="1822" y="365"/>
                    <a:pt x="1860" y="431"/>
                    <a:pt x="1889" y="501"/>
                  </a:cubicBezTo>
                  <a:cubicBezTo>
                    <a:pt x="1819" y="530"/>
                    <a:pt x="1819" y="530"/>
                    <a:pt x="1819" y="530"/>
                  </a:cubicBezTo>
                  <a:cubicBezTo>
                    <a:pt x="1792" y="465"/>
                    <a:pt x="1757" y="406"/>
                    <a:pt x="1715" y="352"/>
                  </a:cubicBezTo>
                  <a:close/>
                  <a:moveTo>
                    <a:pt x="1956" y="837"/>
                  </a:moveTo>
                  <a:cubicBezTo>
                    <a:pt x="1956" y="896"/>
                    <a:pt x="1950" y="954"/>
                    <a:pt x="1939" y="1010"/>
                  </a:cubicBezTo>
                  <a:cubicBezTo>
                    <a:pt x="1937" y="1019"/>
                    <a:pt x="1935" y="1028"/>
                    <a:pt x="1933" y="1037"/>
                  </a:cubicBezTo>
                  <a:cubicBezTo>
                    <a:pt x="1922" y="1083"/>
                    <a:pt x="1908" y="1127"/>
                    <a:pt x="1890" y="1169"/>
                  </a:cubicBezTo>
                  <a:cubicBezTo>
                    <a:pt x="1859" y="1156"/>
                    <a:pt x="1859" y="1156"/>
                    <a:pt x="1859" y="1156"/>
                  </a:cubicBezTo>
                  <a:cubicBezTo>
                    <a:pt x="1899" y="1058"/>
                    <a:pt x="1921" y="951"/>
                    <a:pt x="1921" y="839"/>
                  </a:cubicBezTo>
                  <a:cubicBezTo>
                    <a:pt x="1921" y="839"/>
                    <a:pt x="1921" y="839"/>
                    <a:pt x="1921" y="839"/>
                  </a:cubicBezTo>
                  <a:cubicBezTo>
                    <a:pt x="1921" y="839"/>
                    <a:pt x="1921" y="839"/>
                    <a:pt x="1921" y="839"/>
                  </a:cubicBezTo>
                  <a:cubicBezTo>
                    <a:pt x="1921" y="839"/>
                    <a:pt x="1921" y="839"/>
                    <a:pt x="1921" y="839"/>
                  </a:cubicBezTo>
                  <a:cubicBezTo>
                    <a:pt x="1921" y="839"/>
                    <a:pt x="1921" y="839"/>
                    <a:pt x="1921" y="839"/>
                  </a:cubicBezTo>
                  <a:cubicBezTo>
                    <a:pt x="1921" y="801"/>
                    <a:pt x="1919" y="764"/>
                    <a:pt x="1914" y="728"/>
                  </a:cubicBezTo>
                  <a:cubicBezTo>
                    <a:pt x="1949" y="724"/>
                    <a:pt x="1949" y="724"/>
                    <a:pt x="1949" y="724"/>
                  </a:cubicBezTo>
                  <a:cubicBezTo>
                    <a:pt x="1953" y="761"/>
                    <a:pt x="1956" y="798"/>
                    <a:pt x="1956" y="837"/>
                  </a:cubicBezTo>
                  <a:cubicBezTo>
                    <a:pt x="1956" y="837"/>
                    <a:pt x="1956" y="837"/>
                    <a:pt x="1956" y="837"/>
                  </a:cubicBezTo>
                  <a:close/>
                  <a:moveTo>
                    <a:pt x="1914" y="726"/>
                  </a:moveTo>
                  <a:cubicBezTo>
                    <a:pt x="1904" y="653"/>
                    <a:pt x="1884" y="583"/>
                    <a:pt x="1857" y="517"/>
                  </a:cubicBezTo>
                  <a:cubicBezTo>
                    <a:pt x="1890" y="503"/>
                    <a:pt x="1890" y="503"/>
                    <a:pt x="1890" y="503"/>
                  </a:cubicBezTo>
                  <a:cubicBezTo>
                    <a:pt x="1918" y="572"/>
                    <a:pt x="1938" y="645"/>
                    <a:pt x="1948" y="722"/>
                  </a:cubicBezTo>
                  <a:lnTo>
                    <a:pt x="1914" y="726"/>
                  </a:lnTo>
                  <a:close/>
                  <a:moveTo>
                    <a:pt x="1833" y="568"/>
                  </a:moveTo>
                  <a:cubicBezTo>
                    <a:pt x="1833" y="568"/>
                    <a:pt x="1833" y="568"/>
                    <a:pt x="1833" y="568"/>
                  </a:cubicBezTo>
                  <a:cubicBezTo>
                    <a:pt x="1833" y="568"/>
                    <a:pt x="1833" y="568"/>
                    <a:pt x="1833" y="568"/>
                  </a:cubicBezTo>
                  <a:cubicBezTo>
                    <a:pt x="1833" y="568"/>
                    <a:pt x="1833" y="568"/>
                    <a:pt x="1833" y="568"/>
                  </a:cubicBezTo>
                  <a:cubicBezTo>
                    <a:pt x="1829" y="556"/>
                    <a:pt x="1824" y="544"/>
                    <a:pt x="1819" y="532"/>
                  </a:cubicBezTo>
                  <a:cubicBezTo>
                    <a:pt x="1841" y="523"/>
                    <a:pt x="1841" y="523"/>
                    <a:pt x="1841" y="523"/>
                  </a:cubicBezTo>
                  <a:cubicBezTo>
                    <a:pt x="1869" y="588"/>
                    <a:pt x="1887" y="657"/>
                    <a:pt x="1897" y="729"/>
                  </a:cubicBezTo>
                  <a:cubicBezTo>
                    <a:pt x="1874" y="732"/>
                    <a:pt x="1874" y="732"/>
                    <a:pt x="1874" y="732"/>
                  </a:cubicBezTo>
                  <a:cubicBezTo>
                    <a:pt x="1866" y="677"/>
                    <a:pt x="1853" y="622"/>
                    <a:pt x="1833" y="568"/>
                  </a:cubicBezTo>
                  <a:close/>
                  <a:moveTo>
                    <a:pt x="1874" y="733"/>
                  </a:moveTo>
                  <a:cubicBezTo>
                    <a:pt x="1897" y="730"/>
                    <a:pt x="1897" y="730"/>
                    <a:pt x="1897" y="730"/>
                  </a:cubicBezTo>
                  <a:cubicBezTo>
                    <a:pt x="1897" y="730"/>
                    <a:pt x="1897" y="730"/>
                    <a:pt x="1897" y="730"/>
                  </a:cubicBezTo>
                  <a:cubicBezTo>
                    <a:pt x="1902" y="730"/>
                    <a:pt x="1902" y="730"/>
                    <a:pt x="1902" y="730"/>
                  </a:cubicBezTo>
                  <a:cubicBezTo>
                    <a:pt x="1911" y="728"/>
                    <a:pt x="1911" y="728"/>
                    <a:pt x="1911" y="728"/>
                  </a:cubicBezTo>
                  <a:cubicBezTo>
                    <a:pt x="1916" y="764"/>
                    <a:pt x="1919" y="801"/>
                    <a:pt x="1919" y="839"/>
                  </a:cubicBezTo>
                  <a:cubicBezTo>
                    <a:pt x="1919" y="839"/>
                    <a:pt x="1919" y="839"/>
                    <a:pt x="1919" y="839"/>
                  </a:cubicBezTo>
                  <a:cubicBezTo>
                    <a:pt x="1919" y="839"/>
                    <a:pt x="1919" y="839"/>
                    <a:pt x="1919" y="839"/>
                  </a:cubicBezTo>
                  <a:cubicBezTo>
                    <a:pt x="1919" y="839"/>
                    <a:pt x="1919" y="839"/>
                    <a:pt x="1919" y="839"/>
                  </a:cubicBezTo>
                  <a:cubicBezTo>
                    <a:pt x="1919" y="839"/>
                    <a:pt x="1919" y="839"/>
                    <a:pt x="1919" y="839"/>
                  </a:cubicBezTo>
                  <a:cubicBezTo>
                    <a:pt x="1919" y="951"/>
                    <a:pt x="1896" y="1058"/>
                    <a:pt x="1856" y="1155"/>
                  </a:cubicBezTo>
                  <a:cubicBezTo>
                    <a:pt x="1821" y="1141"/>
                    <a:pt x="1821" y="1141"/>
                    <a:pt x="1821" y="1141"/>
                  </a:cubicBezTo>
                  <a:cubicBezTo>
                    <a:pt x="1873" y="1014"/>
                    <a:pt x="1893" y="874"/>
                    <a:pt x="1874" y="733"/>
                  </a:cubicBezTo>
                  <a:close/>
                  <a:moveTo>
                    <a:pt x="1615" y="1529"/>
                  </a:moveTo>
                  <a:cubicBezTo>
                    <a:pt x="1561" y="1460"/>
                    <a:pt x="1561" y="1460"/>
                    <a:pt x="1561" y="1460"/>
                  </a:cubicBezTo>
                  <a:cubicBezTo>
                    <a:pt x="1588" y="1439"/>
                    <a:pt x="1614" y="1416"/>
                    <a:pt x="1638" y="1392"/>
                  </a:cubicBezTo>
                  <a:cubicBezTo>
                    <a:pt x="1662" y="1369"/>
                    <a:pt x="1684" y="1343"/>
                    <a:pt x="1705" y="1316"/>
                  </a:cubicBezTo>
                  <a:cubicBezTo>
                    <a:pt x="1774" y="1370"/>
                    <a:pt x="1774" y="1370"/>
                    <a:pt x="1774" y="1370"/>
                  </a:cubicBezTo>
                  <a:cubicBezTo>
                    <a:pt x="1755" y="1394"/>
                    <a:pt x="1735" y="1418"/>
                    <a:pt x="1714" y="1440"/>
                  </a:cubicBezTo>
                  <a:cubicBezTo>
                    <a:pt x="1692" y="1463"/>
                    <a:pt x="1669" y="1485"/>
                    <a:pt x="1644" y="1505"/>
                  </a:cubicBezTo>
                  <a:cubicBezTo>
                    <a:pt x="1635" y="1513"/>
                    <a:pt x="1625" y="1521"/>
                    <a:pt x="1615" y="1529"/>
                  </a:cubicBezTo>
                  <a:close/>
                  <a:moveTo>
                    <a:pt x="1845" y="1422"/>
                  </a:moveTo>
                  <a:cubicBezTo>
                    <a:pt x="1794" y="1489"/>
                    <a:pt x="1734" y="1548"/>
                    <a:pt x="1668" y="1599"/>
                  </a:cubicBezTo>
                  <a:cubicBezTo>
                    <a:pt x="1657" y="1585"/>
                    <a:pt x="1657" y="1585"/>
                    <a:pt x="1657" y="1585"/>
                  </a:cubicBezTo>
                  <a:cubicBezTo>
                    <a:pt x="1688" y="1561"/>
                    <a:pt x="1718" y="1535"/>
                    <a:pt x="1745" y="1508"/>
                  </a:cubicBezTo>
                  <a:cubicBezTo>
                    <a:pt x="1774" y="1480"/>
                    <a:pt x="1800" y="1450"/>
                    <a:pt x="1824" y="1419"/>
                  </a:cubicBezTo>
                  <a:cubicBezTo>
                    <a:pt x="1826" y="1416"/>
                    <a:pt x="1828" y="1414"/>
                    <a:pt x="1830" y="1411"/>
                  </a:cubicBezTo>
                  <a:lnTo>
                    <a:pt x="1845" y="1422"/>
                  </a:lnTo>
                  <a:close/>
                  <a:moveTo>
                    <a:pt x="2024" y="836"/>
                  </a:moveTo>
                  <a:cubicBezTo>
                    <a:pt x="2024" y="836"/>
                    <a:pt x="2024" y="836"/>
                    <a:pt x="2024" y="836"/>
                  </a:cubicBezTo>
                  <a:cubicBezTo>
                    <a:pt x="2024" y="836"/>
                    <a:pt x="2024" y="836"/>
                    <a:pt x="2024" y="836"/>
                  </a:cubicBezTo>
                  <a:cubicBezTo>
                    <a:pt x="2024" y="1052"/>
                    <a:pt x="1952" y="1251"/>
                    <a:pt x="1830" y="1409"/>
                  </a:cubicBezTo>
                  <a:cubicBezTo>
                    <a:pt x="1830" y="1409"/>
                    <a:pt x="1830" y="1409"/>
                    <a:pt x="1830" y="1409"/>
                  </a:cubicBezTo>
                  <a:cubicBezTo>
                    <a:pt x="1830" y="1410"/>
                    <a:pt x="1830" y="1410"/>
                    <a:pt x="1830" y="1410"/>
                  </a:cubicBezTo>
                  <a:cubicBezTo>
                    <a:pt x="1830" y="1410"/>
                    <a:pt x="1830" y="1410"/>
                    <a:pt x="1830" y="1410"/>
                  </a:cubicBezTo>
                  <a:cubicBezTo>
                    <a:pt x="1830" y="1410"/>
                    <a:pt x="1830" y="1410"/>
                    <a:pt x="1830" y="1410"/>
                  </a:cubicBezTo>
                  <a:cubicBezTo>
                    <a:pt x="1809" y="1437"/>
                    <a:pt x="1786" y="1463"/>
                    <a:pt x="1763" y="1488"/>
                  </a:cubicBezTo>
                  <a:cubicBezTo>
                    <a:pt x="1739" y="1512"/>
                    <a:pt x="1714" y="1536"/>
                    <a:pt x="1688" y="1558"/>
                  </a:cubicBezTo>
                  <a:cubicBezTo>
                    <a:pt x="1678" y="1567"/>
                    <a:pt x="1667" y="1575"/>
                    <a:pt x="1656" y="1583"/>
                  </a:cubicBezTo>
                  <a:cubicBezTo>
                    <a:pt x="1617" y="1533"/>
                    <a:pt x="1617" y="1533"/>
                    <a:pt x="1617" y="1533"/>
                  </a:cubicBezTo>
                  <a:cubicBezTo>
                    <a:pt x="1627" y="1525"/>
                    <a:pt x="1637" y="1517"/>
                    <a:pt x="1647" y="1508"/>
                  </a:cubicBezTo>
                  <a:cubicBezTo>
                    <a:pt x="1671" y="1488"/>
                    <a:pt x="1695" y="1466"/>
                    <a:pt x="1717" y="1443"/>
                  </a:cubicBezTo>
                  <a:cubicBezTo>
                    <a:pt x="1739" y="1420"/>
                    <a:pt x="1759" y="1396"/>
                    <a:pt x="1779" y="1371"/>
                  </a:cubicBezTo>
                  <a:cubicBezTo>
                    <a:pt x="1779" y="1371"/>
                    <a:pt x="1779" y="1371"/>
                    <a:pt x="1779" y="1371"/>
                  </a:cubicBezTo>
                  <a:cubicBezTo>
                    <a:pt x="1780" y="1369"/>
                    <a:pt x="1780" y="1369"/>
                    <a:pt x="1780" y="1369"/>
                  </a:cubicBezTo>
                  <a:cubicBezTo>
                    <a:pt x="1778" y="1368"/>
                    <a:pt x="1778" y="1368"/>
                    <a:pt x="1778" y="1368"/>
                  </a:cubicBezTo>
                  <a:cubicBezTo>
                    <a:pt x="1704" y="1311"/>
                    <a:pt x="1704" y="1311"/>
                    <a:pt x="1704" y="1311"/>
                  </a:cubicBezTo>
                  <a:cubicBezTo>
                    <a:pt x="1745" y="1258"/>
                    <a:pt x="1778" y="1200"/>
                    <a:pt x="1804" y="1138"/>
                  </a:cubicBezTo>
                  <a:cubicBezTo>
                    <a:pt x="1817" y="1144"/>
                    <a:pt x="1817" y="1144"/>
                    <a:pt x="1817" y="1144"/>
                  </a:cubicBezTo>
                  <a:cubicBezTo>
                    <a:pt x="1813" y="1154"/>
                    <a:pt x="1808" y="1165"/>
                    <a:pt x="1803" y="1176"/>
                  </a:cubicBezTo>
                  <a:cubicBezTo>
                    <a:pt x="1787" y="1211"/>
                    <a:pt x="1767" y="1245"/>
                    <a:pt x="1746" y="1278"/>
                  </a:cubicBezTo>
                  <a:cubicBezTo>
                    <a:pt x="1748" y="1279"/>
                    <a:pt x="1748" y="1279"/>
                    <a:pt x="1748" y="1279"/>
                  </a:cubicBezTo>
                  <a:cubicBezTo>
                    <a:pt x="1770" y="1246"/>
                    <a:pt x="1789" y="1212"/>
                    <a:pt x="1805" y="1177"/>
                  </a:cubicBezTo>
                  <a:cubicBezTo>
                    <a:pt x="1810" y="1166"/>
                    <a:pt x="1815" y="1155"/>
                    <a:pt x="1820" y="1145"/>
                  </a:cubicBezTo>
                  <a:cubicBezTo>
                    <a:pt x="1855" y="1159"/>
                    <a:pt x="1855" y="1159"/>
                    <a:pt x="1855" y="1159"/>
                  </a:cubicBezTo>
                  <a:cubicBezTo>
                    <a:pt x="1854" y="1160"/>
                    <a:pt x="1854" y="1160"/>
                    <a:pt x="1854" y="1160"/>
                  </a:cubicBezTo>
                  <a:cubicBezTo>
                    <a:pt x="1857" y="1161"/>
                    <a:pt x="1857" y="1161"/>
                    <a:pt x="1857" y="1161"/>
                  </a:cubicBezTo>
                  <a:cubicBezTo>
                    <a:pt x="1857" y="1160"/>
                    <a:pt x="1857" y="1160"/>
                    <a:pt x="1857" y="1160"/>
                  </a:cubicBezTo>
                  <a:cubicBezTo>
                    <a:pt x="1891" y="1174"/>
                    <a:pt x="1891" y="1174"/>
                    <a:pt x="1891" y="1174"/>
                  </a:cubicBezTo>
                  <a:cubicBezTo>
                    <a:pt x="1893" y="1175"/>
                    <a:pt x="1893" y="1175"/>
                    <a:pt x="1893" y="1175"/>
                  </a:cubicBezTo>
                  <a:cubicBezTo>
                    <a:pt x="1893" y="1173"/>
                    <a:pt x="1893" y="1173"/>
                    <a:pt x="1893" y="1173"/>
                  </a:cubicBezTo>
                  <a:cubicBezTo>
                    <a:pt x="1911" y="1130"/>
                    <a:pt x="1926" y="1084"/>
                    <a:pt x="1937" y="1038"/>
                  </a:cubicBezTo>
                  <a:cubicBezTo>
                    <a:pt x="1939" y="1029"/>
                    <a:pt x="1941" y="1020"/>
                    <a:pt x="1943" y="1011"/>
                  </a:cubicBezTo>
                  <a:cubicBezTo>
                    <a:pt x="1954" y="954"/>
                    <a:pt x="1960" y="896"/>
                    <a:pt x="1960" y="837"/>
                  </a:cubicBezTo>
                  <a:cubicBezTo>
                    <a:pt x="1960" y="837"/>
                    <a:pt x="1960" y="837"/>
                    <a:pt x="1960" y="837"/>
                  </a:cubicBezTo>
                  <a:cubicBezTo>
                    <a:pt x="1960" y="837"/>
                    <a:pt x="1960" y="837"/>
                    <a:pt x="1960" y="837"/>
                  </a:cubicBezTo>
                  <a:cubicBezTo>
                    <a:pt x="1960" y="798"/>
                    <a:pt x="1958" y="760"/>
                    <a:pt x="1953" y="723"/>
                  </a:cubicBezTo>
                  <a:cubicBezTo>
                    <a:pt x="2017" y="715"/>
                    <a:pt x="2017" y="715"/>
                    <a:pt x="2017" y="715"/>
                  </a:cubicBezTo>
                  <a:cubicBezTo>
                    <a:pt x="2022" y="754"/>
                    <a:pt x="2024" y="795"/>
                    <a:pt x="2024" y="836"/>
                  </a:cubicBezTo>
                  <a:close/>
                  <a:moveTo>
                    <a:pt x="1955" y="481"/>
                  </a:moveTo>
                  <a:cubicBezTo>
                    <a:pt x="1962" y="497"/>
                    <a:pt x="1967" y="512"/>
                    <a:pt x="1973" y="528"/>
                  </a:cubicBezTo>
                  <a:cubicBezTo>
                    <a:pt x="1993" y="587"/>
                    <a:pt x="2008" y="649"/>
                    <a:pt x="2016" y="713"/>
                  </a:cubicBezTo>
                  <a:cubicBezTo>
                    <a:pt x="1953" y="721"/>
                    <a:pt x="1953" y="721"/>
                    <a:pt x="1953" y="721"/>
                  </a:cubicBezTo>
                  <a:cubicBezTo>
                    <a:pt x="1943" y="644"/>
                    <a:pt x="1923" y="571"/>
                    <a:pt x="1894" y="501"/>
                  </a:cubicBezTo>
                  <a:cubicBezTo>
                    <a:pt x="1953" y="477"/>
                    <a:pt x="1953" y="477"/>
                    <a:pt x="1953" y="477"/>
                  </a:cubicBezTo>
                  <a:cubicBezTo>
                    <a:pt x="1954" y="478"/>
                    <a:pt x="1955" y="480"/>
                    <a:pt x="1955" y="481"/>
                  </a:cubicBezTo>
                  <a:close/>
                  <a:moveTo>
                    <a:pt x="1953" y="475"/>
                  </a:moveTo>
                  <a:cubicBezTo>
                    <a:pt x="1893" y="500"/>
                    <a:pt x="1893" y="500"/>
                    <a:pt x="1893" y="500"/>
                  </a:cubicBezTo>
                  <a:cubicBezTo>
                    <a:pt x="1864" y="429"/>
                    <a:pt x="1825" y="363"/>
                    <a:pt x="1779" y="303"/>
                  </a:cubicBezTo>
                  <a:cubicBezTo>
                    <a:pt x="1831" y="264"/>
                    <a:pt x="1831" y="264"/>
                    <a:pt x="1831" y="264"/>
                  </a:cubicBezTo>
                  <a:cubicBezTo>
                    <a:pt x="1880" y="328"/>
                    <a:pt x="1921" y="399"/>
                    <a:pt x="1953" y="475"/>
                  </a:cubicBezTo>
                  <a:close/>
                  <a:moveTo>
                    <a:pt x="1668" y="74"/>
                  </a:moveTo>
                  <a:cubicBezTo>
                    <a:pt x="1671" y="75"/>
                    <a:pt x="1673" y="77"/>
                    <a:pt x="1675" y="79"/>
                  </a:cubicBezTo>
                  <a:cubicBezTo>
                    <a:pt x="1707" y="104"/>
                    <a:pt x="1737" y="131"/>
                    <a:pt x="1765" y="159"/>
                  </a:cubicBezTo>
                  <a:cubicBezTo>
                    <a:pt x="1794" y="188"/>
                    <a:pt x="1820" y="218"/>
                    <a:pt x="1845" y="250"/>
                  </a:cubicBezTo>
                  <a:cubicBezTo>
                    <a:pt x="1830" y="261"/>
                    <a:pt x="1830" y="261"/>
                    <a:pt x="1830" y="261"/>
                  </a:cubicBezTo>
                  <a:cubicBezTo>
                    <a:pt x="1780" y="196"/>
                    <a:pt x="1722" y="138"/>
                    <a:pt x="1658" y="88"/>
                  </a:cubicBezTo>
                  <a:lnTo>
                    <a:pt x="1668" y="74"/>
                  </a:lnTo>
                  <a:close/>
                  <a:moveTo>
                    <a:pt x="1657" y="89"/>
                  </a:moveTo>
                  <a:cubicBezTo>
                    <a:pt x="1722" y="139"/>
                    <a:pt x="1780" y="197"/>
                    <a:pt x="1830" y="262"/>
                  </a:cubicBezTo>
                  <a:cubicBezTo>
                    <a:pt x="1778" y="302"/>
                    <a:pt x="1778" y="302"/>
                    <a:pt x="1778" y="302"/>
                  </a:cubicBezTo>
                  <a:cubicBezTo>
                    <a:pt x="1743" y="256"/>
                    <a:pt x="1704" y="214"/>
                    <a:pt x="1661" y="176"/>
                  </a:cubicBezTo>
                  <a:cubicBezTo>
                    <a:pt x="1646" y="164"/>
                    <a:pt x="1632" y="152"/>
                    <a:pt x="1617" y="141"/>
                  </a:cubicBezTo>
                  <a:lnTo>
                    <a:pt x="1657" y="89"/>
                  </a:lnTo>
                  <a:close/>
                  <a:moveTo>
                    <a:pt x="1658" y="179"/>
                  </a:moveTo>
                  <a:cubicBezTo>
                    <a:pt x="1701" y="217"/>
                    <a:pt x="1740" y="259"/>
                    <a:pt x="1775" y="304"/>
                  </a:cubicBezTo>
                  <a:cubicBezTo>
                    <a:pt x="1714" y="351"/>
                    <a:pt x="1714" y="351"/>
                    <a:pt x="1714" y="351"/>
                  </a:cubicBezTo>
                  <a:cubicBezTo>
                    <a:pt x="1672" y="296"/>
                    <a:pt x="1622" y="247"/>
                    <a:pt x="1568" y="205"/>
                  </a:cubicBezTo>
                  <a:cubicBezTo>
                    <a:pt x="1615" y="144"/>
                    <a:pt x="1615" y="144"/>
                    <a:pt x="1615" y="144"/>
                  </a:cubicBezTo>
                  <a:cubicBezTo>
                    <a:pt x="1629" y="155"/>
                    <a:pt x="1644" y="167"/>
                    <a:pt x="1658" y="179"/>
                  </a:cubicBezTo>
                  <a:close/>
                  <a:moveTo>
                    <a:pt x="1418" y="30"/>
                  </a:moveTo>
                  <a:cubicBezTo>
                    <a:pt x="1462" y="48"/>
                    <a:pt x="1504" y="70"/>
                    <a:pt x="1544" y="95"/>
                  </a:cubicBezTo>
                  <a:cubicBezTo>
                    <a:pt x="1568" y="110"/>
                    <a:pt x="1591" y="126"/>
                    <a:pt x="1613" y="143"/>
                  </a:cubicBezTo>
                  <a:cubicBezTo>
                    <a:pt x="1566" y="204"/>
                    <a:pt x="1566" y="204"/>
                    <a:pt x="1566" y="204"/>
                  </a:cubicBezTo>
                  <a:cubicBezTo>
                    <a:pt x="1521" y="170"/>
                    <a:pt x="1473" y="141"/>
                    <a:pt x="1422" y="117"/>
                  </a:cubicBezTo>
                  <a:cubicBezTo>
                    <a:pt x="1411" y="112"/>
                    <a:pt x="1400" y="107"/>
                    <a:pt x="1388" y="102"/>
                  </a:cubicBezTo>
                  <a:lnTo>
                    <a:pt x="1418" y="30"/>
                  </a:lnTo>
                  <a:close/>
                  <a:moveTo>
                    <a:pt x="1387" y="104"/>
                  </a:moveTo>
                  <a:cubicBezTo>
                    <a:pt x="1399" y="109"/>
                    <a:pt x="1410" y="114"/>
                    <a:pt x="1421" y="120"/>
                  </a:cubicBezTo>
                  <a:cubicBezTo>
                    <a:pt x="1472" y="143"/>
                    <a:pt x="1520" y="172"/>
                    <a:pt x="1565" y="206"/>
                  </a:cubicBezTo>
                  <a:cubicBezTo>
                    <a:pt x="1556" y="217"/>
                    <a:pt x="1556" y="217"/>
                    <a:pt x="1556" y="217"/>
                  </a:cubicBezTo>
                  <a:cubicBezTo>
                    <a:pt x="1503" y="177"/>
                    <a:pt x="1444" y="143"/>
                    <a:pt x="1382" y="117"/>
                  </a:cubicBezTo>
                  <a:lnTo>
                    <a:pt x="1387" y="104"/>
                  </a:lnTo>
                  <a:close/>
                  <a:moveTo>
                    <a:pt x="138" y="960"/>
                  </a:moveTo>
                  <a:cubicBezTo>
                    <a:pt x="133" y="919"/>
                    <a:pt x="130" y="878"/>
                    <a:pt x="130" y="837"/>
                  </a:cubicBezTo>
                  <a:cubicBezTo>
                    <a:pt x="130" y="795"/>
                    <a:pt x="133" y="754"/>
                    <a:pt x="138" y="714"/>
                  </a:cubicBezTo>
                  <a:cubicBezTo>
                    <a:pt x="212" y="723"/>
                    <a:pt x="212" y="723"/>
                    <a:pt x="212" y="723"/>
                  </a:cubicBezTo>
                  <a:cubicBezTo>
                    <a:pt x="207" y="760"/>
                    <a:pt x="205" y="798"/>
                    <a:pt x="205" y="837"/>
                  </a:cubicBezTo>
                  <a:cubicBezTo>
                    <a:pt x="205" y="837"/>
                    <a:pt x="205" y="837"/>
                    <a:pt x="205" y="837"/>
                  </a:cubicBezTo>
                  <a:cubicBezTo>
                    <a:pt x="205" y="837"/>
                    <a:pt x="205" y="837"/>
                    <a:pt x="205" y="837"/>
                  </a:cubicBezTo>
                  <a:cubicBezTo>
                    <a:pt x="205" y="837"/>
                    <a:pt x="205" y="837"/>
                    <a:pt x="205" y="837"/>
                  </a:cubicBezTo>
                  <a:cubicBezTo>
                    <a:pt x="205" y="875"/>
                    <a:pt x="207" y="913"/>
                    <a:pt x="212" y="950"/>
                  </a:cubicBezTo>
                  <a:lnTo>
                    <a:pt x="138" y="960"/>
                  </a:lnTo>
                  <a:close/>
                  <a:moveTo>
                    <a:pt x="252" y="945"/>
                  </a:moveTo>
                  <a:cubicBezTo>
                    <a:pt x="251" y="944"/>
                    <a:pt x="251" y="944"/>
                    <a:pt x="251" y="944"/>
                  </a:cubicBezTo>
                  <a:cubicBezTo>
                    <a:pt x="250" y="944"/>
                    <a:pt x="250" y="944"/>
                    <a:pt x="250" y="944"/>
                  </a:cubicBezTo>
                  <a:cubicBezTo>
                    <a:pt x="216" y="949"/>
                    <a:pt x="216" y="949"/>
                    <a:pt x="216" y="949"/>
                  </a:cubicBezTo>
                  <a:cubicBezTo>
                    <a:pt x="212" y="912"/>
                    <a:pt x="209" y="875"/>
                    <a:pt x="209" y="837"/>
                  </a:cubicBezTo>
                  <a:cubicBezTo>
                    <a:pt x="209" y="837"/>
                    <a:pt x="209" y="837"/>
                    <a:pt x="209" y="837"/>
                  </a:cubicBezTo>
                  <a:cubicBezTo>
                    <a:pt x="209" y="837"/>
                    <a:pt x="209" y="837"/>
                    <a:pt x="209" y="837"/>
                  </a:cubicBezTo>
                  <a:cubicBezTo>
                    <a:pt x="209" y="837"/>
                    <a:pt x="209" y="837"/>
                    <a:pt x="209" y="837"/>
                  </a:cubicBezTo>
                  <a:cubicBezTo>
                    <a:pt x="209" y="798"/>
                    <a:pt x="212" y="761"/>
                    <a:pt x="216" y="724"/>
                  </a:cubicBezTo>
                  <a:cubicBezTo>
                    <a:pt x="250" y="729"/>
                    <a:pt x="250" y="729"/>
                    <a:pt x="250" y="729"/>
                  </a:cubicBezTo>
                  <a:cubicBezTo>
                    <a:pt x="251" y="729"/>
                    <a:pt x="251" y="729"/>
                    <a:pt x="251" y="729"/>
                  </a:cubicBezTo>
                  <a:cubicBezTo>
                    <a:pt x="252" y="728"/>
                    <a:pt x="252" y="728"/>
                    <a:pt x="252" y="728"/>
                  </a:cubicBezTo>
                  <a:cubicBezTo>
                    <a:pt x="252" y="728"/>
                    <a:pt x="252" y="728"/>
                    <a:pt x="252" y="728"/>
                  </a:cubicBezTo>
                  <a:cubicBezTo>
                    <a:pt x="252" y="728"/>
                    <a:pt x="252" y="728"/>
                    <a:pt x="252" y="728"/>
                  </a:cubicBezTo>
                  <a:cubicBezTo>
                    <a:pt x="258" y="675"/>
                    <a:pt x="270" y="624"/>
                    <a:pt x="286" y="575"/>
                  </a:cubicBezTo>
                  <a:cubicBezTo>
                    <a:pt x="293" y="556"/>
                    <a:pt x="300" y="536"/>
                    <a:pt x="308" y="517"/>
                  </a:cubicBezTo>
                  <a:cubicBezTo>
                    <a:pt x="348" y="534"/>
                    <a:pt x="348" y="534"/>
                    <a:pt x="348" y="534"/>
                  </a:cubicBezTo>
                  <a:cubicBezTo>
                    <a:pt x="275" y="711"/>
                    <a:pt x="265" y="915"/>
                    <a:pt x="335" y="1109"/>
                  </a:cubicBezTo>
                  <a:cubicBezTo>
                    <a:pt x="335" y="1109"/>
                    <a:pt x="335" y="1109"/>
                    <a:pt x="335" y="1109"/>
                  </a:cubicBezTo>
                  <a:cubicBezTo>
                    <a:pt x="335" y="1109"/>
                    <a:pt x="335" y="1109"/>
                    <a:pt x="335" y="1109"/>
                  </a:cubicBezTo>
                  <a:cubicBezTo>
                    <a:pt x="335" y="1109"/>
                    <a:pt x="335" y="1109"/>
                    <a:pt x="335" y="1109"/>
                  </a:cubicBezTo>
                  <a:cubicBezTo>
                    <a:pt x="338" y="1120"/>
                    <a:pt x="342" y="1130"/>
                    <a:pt x="347" y="1140"/>
                  </a:cubicBezTo>
                  <a:cubicBezTo>
                    <a:pt x="308" y="1156"/>
                    <a:pt x="308" y="1156"/>
                    <a:pt x="308" y="1156"/>
                  </a:cubicBezTo>
                  <a:cubicBezTo>
                    <a:pt x="280" y="1090"/>
                    <a:pt x="261" y="1019"/>
                    <a:pt x="252" y="945"/>
                  </a:cubicBezTo>
                  <a:close/>
                  <a:moveTo>
                    <a:pt x="217" y="722"/>
                  </a:moveTo>
                  <a:cubicBezTo>
                    <a:pt x="219" y="702"/>
                    <a:pt x="222" y="683"/>
                    <a:pt x="226" y="663"/>
                  </a:cubicBezTo>
                  <a:cubicBezTo>
                    <a:pt x="228" y="654"/>
                    <a:pt x="230" y="645"/>
                    <a:pt x="232" y="636"/>
                  </a:cubicBezTo>
                  <a:cubicBezTo>
                    <a:pt x="243" y="590"/>
                    <a:pt x="257" y="546"/>
                    <a:pt x="275" y="504"/>
                  </a:cubicBezTo>
                  <a:cubicBezTo>
                    <a:pt x="305" y="516"/>
                    <a:pt x="305" y="516"/>
                    <a:pt x="305" y="516"/>
                  </a:cubicBezTo>
                  <a:cubicBezTo>
                    <a:pt x="298" y="535"/>
                    <a:pt x="290" y="555"/>
                    <a:pt x="284" y="574"/>
                  </a:cubicBezTo>
                  <a:cubicBezTo>
                    <a:pt x="268" y="623"/>
                    <a:pt x="256" y="674"/>
                    <a:pt x="249" y="726"/>
                  </a:cubicBezTo>
                  <a:lnTo>
                    <a:pt x="217" y="722"/>
                  </a:lnTo>
                  <a:close/>
                  <a:moveTo>
                    <a:pt x="532" y="1390"/>
                  </a:moveTo>
                  <a:cubicBezTo>
                    <a:pt x="555" y="1413"/>
                    <a:pt x="580" y="1435"/>
                    <a:pt x="606" y="1455"/>
                  </a:cubicBezTo>
                  <a:cubicBezTo>
                    <a:pt x="571" y="1500"/>
                    <a:pt x="571" y="1500"/>
                    <a:pt x="571" y="1500"/>
                  </a:cubicBezTo>
                  <a:cubicBezTo>
                    <a:pt x="547" y="1482"/>
                    <a:pt x="525" y="1462"/>
                    <a:pt x="503" y="1442"/>
                  </a:cubicBezTo>
                  <a:cubicBezTo>
                    <a:pt x="481" y="1421"/>
                    <a:pt x="460" y="1399"/>
                    <a:pt x="441" y="1375"/>
                  </a:cubicBezTo>
                  <a:cubicBezTo>
                    <a:pt x="433" y="1366"/>
                    <a:pt x="425" y="1357"/>
                    <a:pt x="418" y="1347"/>
                  </a:cubicBezTo>
                  <a:cubicBezTo>
                    <a:pt x="464" y="1312"/>
                    <a:pt x="464" y="1312"/>
                    <a:pt x="464" y="1312"/>
                  </a:cubicBezTo>
                  <a:cubicBezTo>
                    <a:pt x="485" y="1339"/>
                    <a:pt x="508" y="1366"/>
                    <a:pt x="532" y="1390"/>
                  </a:cubicBezTo>
                  <a:close/>
                  <a:moveTo>
                    <a:pt x="463" y="1311"/>
                  </a:moveTo>
                  <a:cubicBezTo>
                    <a:pt x="417" y="1346"/>
                    <a:pt x="417" y="1346"/>
                    <a:pt x="417" y="1346"/>
                  </a:cubicBezTo>
                  <a:cubicBezTo>
                    <a:pt x="373" y="1288"/>
                    <a:pt x="336" y="1225"/>
                    <a:pt x="308" y="1158"/>
                  </a:cubicBezTo>
                  <a:cubicBezTo>
                    <a:pt x="362" y="1135"/>
                    <a:pt x="362" y="1135"/>
                    <a:pt x="362" y="1135"/>
                  </a:cubicBezTo>
                  <a:cubicBezTo>
                    <a:pt x="388" y="1198"/>
                    <a:pt x="422" y="1257"/>
                    <a:pt x="463" y="1311"/>
                  </a:cubicBezTo>
                  <a:close/>
                  <a:moveTo>
                    <a:pt x="304" y="839"/>
                  </a:moveTo>
                  <a:cubicBezTo>
                    <a:pt x="304" y="839"/>
                    <a:pt x="304" y="839"/>
                    <a:pt x="304" y="839"/>
                  </a:cubicBezTo>
                  <a:cubicBezTo>
                    <a:pt x="304" y="839"/>
                    <a:pt x="304" y="839"/>
                    <a:pt x="304" y="839"/>
                  </a:cubicBezTo>
                  <a:cubicBezTo>
                    <a:pt x="304" y="839"/>
                    <a:pt x="304" y="839"/>
                    <a:pt x="304" y="839"/>
                  </a:cubicBezTo>
                  <a:cubicBezTo>
                    <a:pt x="304" y="839"/>
                    <a:pt x="304" y="839"/>
                    <a:pt x="304" y="839"/>
                  </a:cubicBezTo>
                  <a:cubicBezTo>
                    <a:pt x="304" y="943"/>
                    <a:pt x="324" y="1043"/>
                    <a:pt x="362" y="1134"/>
                  </a:cubicBezTo>
                  <a:cubicBezTo>
                    <a:pt x="349" y="1139"/>
                    <a:pt x="349" y="1139"/>
                    <a:pt x="349" y="1139"/>
                  </a:cubicBezTo>
                  <a:cubicBezTo>
                    <a:pt x="345" y="1129"/>
                    <a:pt x="341" y="1119"/>
                    <a:pt x="337" y="1108"/>
                  </a:cubicBezTo>
                  <a:cubicBezTo>
                    <a:pt x="337" y="1108"/>
                    <a:pt x="337" y="1108"/>
                    <a:pt x="337" y="1108"/>
                  </a:cubicBezTo>
                  <a:cubicBezTo>
                    <a:pt x="337" y="1108"/>
                    <a:pt x="337" y="1108"/>
                    <a:pt x="337" y="1108"/>
                  </a:cubicBezTo>
                  <a:cubicBezTo>
                    <a:pt x="337" y="1108"/>
                    <a:pt x="337" y="1108"/>
                    <a:pt x="337" y="1108"/>
                  </a:cubicBezTo>
                  <a:cubicBezTo>
                    <a:pt x="337" y="1108"/>
                    <a:pt x="337" y="1108"/>
                    <a:pt x="337" y="1108"/>
                  </a:cubicBezTo>
                  <a:cubicBezTo>
                    <a:pt x="292" y="984"/>
                    <a:pt x="280" y="857"/>
                    <a:pt x="297" y="735"/>
                  </a:cubicBezTo>
                  <a:cubicBezTo>
                    <a:pt x="310" y="736"/>
                    <a:pt x="310" y="736"/>
                    <a:pt x="310" y="736"/>
                  </a:cubicBezTo>
                  <a:cubicBezTo>
                    <a:pt x="306" y="770"/>
                    <a:pt x="304" y="804"/>
                    <a:pt x="304" y="839"/>
                  </a:cubicBezTo>
                  <a:close/>
                  <a:moveTo>
                    <a:pt x="311" y="735"/>
                  </a:moveTo>
                  <a:cubicBezTo>
                    <a:pt x="297" y="733"/>
                    <a:pt x="297" y="733"/>
                    <a:pt x="297" y="733"/>
                  </a:cubicBezTo>
                  <a:cubicBezTo>
                    <a:pt x="306" y="665"/>
                    <a:pt x="324" y="598"/>
                    <a:pt x="350" y="535"/>
                  </a:cubicBezTo>
                  <a:cubicBezTo>
                    <a:pt x="363" y="540"/>
                    <a:pt x="363" y="540"/>
                    <a:pt x="363" y="540"/>
                  </a:cubicBezTo>
                  <a:cubicBezTo>
                    <a:pt x="337" y="602"/>
                    <a:pt x="320" y="667"/>
                    <a:pt x="311" y="735"/>
                  </a:cubicBezTo>
                  <a:close/>
                  <a:moveTo>
                    <a:pt x="364" y="536"/>
                  </a:moveTo>
                  <a:cubicBezTo>
                    <a:pt x="309" y="513"/>
                    <a:pt x="309" y="513"/>
                    <a:pt x="309" y="513"/>
                  </a:cubicBezTo>
                  <a:cubicBezTo>
                    <a:pt x="321" y="486"/>
                    <a:pt x="333" y="460"/>
                    <a:pt x="347" y="434"/>
                  </a:cubicBezTo>
                  <a:cubicBezTo>
                    <a:pt x="368" y="397"/>
                    <a:pt x="391" y="361"/>
                    <a:pt x="417" y="328"/>
                  </a:cubicBezTo>
                  <a:cubicBezTo>
                    <a:pt x="465" y="364"/>
                    <a:pt x="465" y="364"/>
                    <a:pt x="465" y="364"/>
                  </a:cubicBezTo>
                  <a:cubicBezTo>
                    <a:pt x="424" y="417"/>
                    <a:pt x="390" y="474"/>
                    <a:pt x="364" y="536"/>
                  </a:cubicBezTo>
                  <a:close/>
                  <a:moveTo>
                    <a:pt x="972" y="6"/>
                  </a:moveTo>
                  <a:cubicBezTo>
                    <a:pt x="979" y="60"/>
                    <a:pt x="979" y="60"/>
                    <a:pt x="979" y="60"/>
                  </a:cubicBezTo>
                  <a:cubicBezTo>
                    <a:pt x="925" y="67"/>
                    <a:pt x="871" y="81"/>
                    <a:pt x="817" y="100"/>
                  </a:cubicBezTo>
                  <a:cubicBezTo>
                    <a:pt x="817" y="100"/>
                    <a:pt x="817" y="100"/>
                    <a:pt x="817" y="100"/>
                  </a:cubicBezTo>
                  <a:cubicBezTo>
                    <a:pt x="817" y="100"/>
                    <a:pt x="817" y="100"/>
                    <a:pt x="817" y="100"/>
                  </a:cubicBezTo>
                  <a:cubicBezTo>
                    <a:pt x="817" y="100"/>
                    <a:pt x="817" y="100"/>
                    <a:pt x="817" y="100"/>
                  </a:cubicBezTo>
                  <a:cubicBezTo>
                    <a:pt x="806" y="104"/>
                    <a:pt x="795" y="108"/>
                    <a:pt x="783" y="113"/>
                  </a:cubicBezTo>
                  <a:cubicBezTo>
                    <a:pt x="762" y="62"/>
                    <a:pt x="762" y="62"/>
                    <a:pt x="762" y="62"/>
                  </a:cubicBezTo>
                  <a:cubicBezTo>
                    <a:pt x="828" y="35"/>
                    <a:pt x="899" y="16"/>
                    <a:pt x="972" y="6"/>
                  </a:cubicBezTo>
                  <a:close/>
                  <a:moveTo>
                    <a:pt x="761" y="63"/>
                  </a:moveTo>
                  <a:cubicBezTo>
                    <a:pt x="782" y="114"/>
                    <a:pt x="782" y="114"/>
                    <a:pt x="782" y="114"/>
                  </a:cubicBezTo>
                  <a:cubicBezTo>
                    <a:pt x="717" y="141"/>
                    <a:pt x="658" y="175"/>
                    <a:pt x="605" y="216"/>
                  </a:cubicBezTo>
                  <a:cubicBezTo>
                    <a:pt x="608" y="220"/>
                    <a:pt x="608" y="220"/>
                    <a:pt x="608" y="220"/>
                  </a:cubicBezTo>
                  <a:cubicBezTo>
                    <a:pt x="581" y="241"/>
                    <a:pt x="556" y="263"/>
                    <a:pt x="532" y="287"/>
                  </a:cubicBezTo>
                  <a:cubicBezTo>
                    <a:pt x="509" y="311"/>
                    <a:pt x="486" y="336"/>
                    <a:pt x="466" y="363"/>
                  </a:cubicBezTo>
                  <a:cubicBezTo>
                    <a:pt x="418" y="326"/>
                    <a:pt x="418" y="326"/>
                    <a:pt x="418" y="326"/>
                  </a:cubicBezTo>
                  <a:cubicBezTo>
                    <a:pt x="507" y="211"/>
                    <a:pt x="625" y="119"/>
                    <a:pt x="761" y="63"/>
                  </a:cubicBezTo>
                  <a:close/>
                  <a:moveTo>
                    <a:pt x="528" y="115"/>
                  </a:moveTo>
                  <a:cubicBezTo>
                    <a:pt x="570" y="170"/>
                    <a:pt x="570" y="170"/>
                    <a:pt x="570" y="170"/>
                  </a:cubicBezTo>
                  <a:cubicBezTo>
                    <a:pt x="513" y="215"/>
                    <a:pt x="461" y="267"/>
                    <a:pt x="416" y="325"/>
                  </a:cubicBezTo>
                  <a:cubicBezTo>
                    <a:pt x="360" y="282"/>
                    <a:pt x="360" y="282"/>
                    <a:pt x="360" y="282"/>
                  </a:cubicBezTo>
                  <a:cubicBezTo>
                    <a:pt x="372" y="267"/>
                    <a:pt x="385" y="251"/>
                    <a:pt x="397" y="237"/>
                  </a:cubicBezTo>
                  <a:cubicBezTo>
                    <a:pt x="437" y="192"/>
                    <a:pt x="480" y="151"/>
                    <a:pt x="528" y="115"/>
                  </a:cubicBezTo>
                  <a:close/>
                  <a:moveTo>
                    <a:pt x="496" y="73"/>
                  </a:moveTo>
                  <a:cubicBezTo>
                    <a:pt x="526" y="112"/>
                    <a:pt x="526" y="112"/>
                    <a:pt x="526" y="112"/>
                  </a:cubicBezTo>
                  <a:cubicBezTo>
                    <a:pt x="478" y="149"/>
                    <a:pt x="435" y="190"/>
                    <a:pt x="395" y="235"/>
                  </a:cubicBezTo>
                  <a:cubicBezTo>
                    <a:pt x="382" y="250"/>
                    <a:pt x="370" y="265"/>
                    <a:pt x="358" y="280"/>
                  </a:cubicBezTo>
                  <a:cubicBezTo>
                    <a:pt x="319" y="250"/>
                    <a:pt x="319" y="250"/>
                    <a:pt x="319" y="250"/>
                  </a:cubicBezTo>
                  <a:cubicBezTo>
                    <a:pt x="370" y="184"/>
                    <a:pt x="429" y="124"/>
                    <a:pt x="496" y="73"/>
                  </a:cubicBezTo>
                  <a:close/>
                  <a:moveTo>
                    <a:pt x="318" y="251"/>
                  </a:moveTo>
                  <a:cubicBezTo>
                    <a:pt x="357" y="282"/>
                    <a:pt x="357" y="282"/>
                    <a:pt x="357" y="282"/>
                  </a:cubicBezTo>
                  <a:cubicBezTo>
                    <a:pt x="339" y="305"/>
                    <a:pt x="322" y="329"/>
                    <a:pt x="307" y="354"/>
                  </a:cubicBezTo>
                  <a:cubicBezTo>
                    <a:pt x="281" y="396"/>
                    <a:pt x="258" y="440"/>
                    <a:pt x="239" y="486"/>
                  </a:cubicBezTo>
                  <a:cubicBezTo>
                    <a:pt x="193" y="467"/>
                    <a:pt x="193" y="467"/>
                    <a:pt x="193" y="467"/>
                  </a:cubicBezTo>
                  <a:cubicBezTo>
                    <a:pt x="225" y="389"/>
                    <a:pt x="267" y="317"/>
                    <a:pt x="318" y="251"/>
                  </a:cubicBezTo>
                  <a:close/>
                  <a:moveTo>
                    <a:pt x="133" y="677"/>
                  </a:moveTo>
                  <a:cubicBezTo>
                    <a:pt x="133" y="676"/>
                    <a:pt x="133" y="675"/>
                    <a:pt x="133" y="674"/>
                  </a:cubicBezTo>
                  <a:cubicBezTo>
                    <a:pt x="145" y="603"/>
                    <a:pt x="165" y="534"/>
                    <a:pt x="192" y="469"/>
                  </a:cubicBezTo>
                  <a:cubicBezTo>
                    <a:pt x="239" y="489"/>
                    <a:pt x="239" y="489"/>
                    <a:pt x="239" y="489"/>
                  </a:cubicBezTo>
                  <a:cubicBezTo>
                    <a:pt x="240" y="489"/>
                    <a:pt x="240" y="489"/>
                    <a:pt x="240" y="489"/>
                  </a:cubicBezTo>
                  <a:cubicBezTo>
                    <a:pt x="241" y="488"/>
                    <a:pt x="241" y="488"/>
                    <a:pt x="241" y="488"/>
                  </a:cubicBezTo>
                  <a:cubicBezTo>
                    <a:pt x="241" y="488"/>
                    <a:pt x="241" y="488"/>
                    <a:pt x="241" y="488"/>
                  </a:cubicBezTo>
                  <a:cubicBezTo>
                    <a:pt x="241" y="488"/>
                    <a:pt x="241" y="488"/>
                    <a:pt x="241" y="488"/>
                  </a:cubicBezTo>
                  <a:cubicBezTo>
                    <a:pt x="260" y="442"/>
                    <a:pt x="283" y="398"/>
                    <a:pt x="309" y="356"/>
                  </a:cubicBezTo>
                  <a:cubicBezTo>
                    <a:pt x="325" y="331"/>
                    <a:pt x="341" y="307"/>
                    <a:pt x="359" y="283"/>
                  </a:cubicBezTo>
                  <a:cubicBezTo>
                    <a:pt x="415" y="326"/>
                    <a:pt x="415" y="326"/>
                    <a:pt x="415" y="326"/>
                  </a:cubicBezTo>
                  <a:cubicBezTo>
                    <a:pt x="389" y="360"/>
                    <a:pt x="366" y="396"/>
                    <a:pt x="345" y="433"/>
                  </a:cubicBezTo>
                  <a:cubicBezTo>
                    <a:pt x="331" y="459"/>
                    <a:pt x="319" y="485"/>
                    <a:pt x="307" y="512"/>
                  </a:cubicBezTo>
                  <a:cubicBezTo>
                    <a:pt x="275" y="499"/>
                    <a:pt x="275" y="499"/>
                    <a:pt x="275" y="499"/>
                  </a:cubicBezTo>
                  <a:cubicBezTo>
                    <a:pt x="273" y="498"/>
                    <a:pt x="273" y="498"/>
                    <a:pt x="273" y="498"/>
                  </a:cubicBezTo>
                  <a:cubicBezTo>
                    <a:pt x="272" y="500"/>
                    <a:pt x="272" y="500"/>
                    <a:pt x="272" y="500"/>
                  </a:cubicBezTo>
                  <a:cubicBezTo>
                    <a:pt x="254" y="543"/>
                    <a:pt x="239" y="589"/>
                    <a:pt x="228" y="635"/>
                  </a:cubicBezTo>
                  <a:cubicBezTo>
                    <a:pt x="226" y="644"/>
                    <a:pt x="224" y="653"/>
                    <a:pt x="222" y="662"/>
                  </a:cubicBezTo>
                  <a:cubicBezTo>
                    <a:pt x="218" y="682"/>
                    <a:pt x="215" y="702"/>
                    <a:pt x="212" y="722"/>
                  </a:cubicBezTo>
                  <a:cubicBezTo>
                    <a:pt x="128" y="711"/>
                    <a:pt x="128" y="711"/>
                    <a:pt x="128" y="711"/>
                  </a:cubicBezTo>
                  <a:cubicBezTo>
                    <a:pt x="129" y="699"/>
                    <a:pt x="131" y="688"/>
                    <a:pt x="133" y="677"/>
                  </a:cubicBezTo>
                  <a:close/>
                </a:path>
              </a:pathLst>
            </a:custGeom>
            <a:solidFill>
              <a:srgbClr val="897A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15" name="Title 2"/>
          <p:cNvSpPr txBox="1">
            <a:spLocks/>
          </p:cNvSpPr>
          <p:nvPr/>
        </p:nvSpPr>
        <p:spPr bwMode="gray">
          <a:xfrm>
            <a:off x="107504" y="2019591"/>
            <a:ext cx="8209140" cy="101066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0" kern="1200" cap="none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uk-UA" sz="2800" b="1" dirty="0"/>
              <a:t>Аудитория Уанета. Статистика онлайн-покупок</a:t>
            </a:r>
            <a:endParaRPr lang="en-US" altLang="uk-UA" sz="2800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5161" y="4731672"/>
            <a:ext cx="8493678" cy="215833"/>
          </a:xfrm>
          <a:solidFill>
            <a:schemeClr val="bg1"/>
          </a:solidFill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  <a:spcAft>
                <a:spcPct val="0"/>
              </a:spcAft>
            </a:pPr>
            <a:r>
              <a:rPr lang="ru-RU" altLang="uk-UA" dirty="0" smtClean="0"/>
              <a:t>Андрей Осадчий, заместитель начальника отдела P</a:t>
            </a:r>
            <a:r>
              <a:rPr lang="en-US" altLang="uk-UA" dirty="0" err="1"/>
              <a:t>o</a:t>
            </a:r>
            <a:r>
              <a:rPr lang="en-US" altLang="uk-UA" dirty="0" err="1" smtClean="0"/>
              <a:t>ST</a:t>
            </a:r>
            <a:r>
              <a:rPr lang="ru-RU" altLang="uk-UA" dirty="0" smtClean="0"/>
              <a:t>, GfK Ukraine</a:t>
            </a:r>
          </a:p>
        </p:txBody>
      </p:sp>
    </p:spTree>
    <p:extLst>
      <p:ext uri="{BB962C8B-B14F-4D97-AF65-F5344CB8AC3E}">
        <p14:creationId xmlns:p14="http://schemas.microsoft.com/office/powerpoint/2010/main" val="1680218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CI_QVW_ID_002" hidden="1"/>
          <p:cNvSpPr txBox="1"/>
          <p:nvPr/>
        </p:nvSpPr>
        <p:spPr>
          <a:xfrm>
            <a:off x="1410" y="0"/>
            <a:ext cx="497099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DE" sz="100">
                <a:solidFill>
                  <a:srgbClr val="FFFFFF"/>
                </a:solidFill>
                <a:latin typeface="Arial"/>
              </a:rPr>
              <a:t>PRJ 127160 - RG 4773046 - RP 30755231 - ID 510733015</a:t>
            </a:r>
          </a:p>
        </p:txBody>
      </p:sp>
      <p:sp>
        <p:nvSpPr>
          <p:cNvPr id="4" name="RCI_QVW_ChartName_003" hidden="1"/>
          <p:cNvSpPr txBox="1"/>
          <p:nvPr/>
        </p:nvSpPr>
        <p:spPr>
          <a:xfrm>
            <a:off x="1411" y="0"/>
            <a:ext cx="242299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DE" sz="100">
                <a:solidFill>
                  <a:srgbClr val="FFFFFF"/>
                </a:solidFill>
                <a:latin typeface="Arial"/>
              </a:rPr>
              <a:t>TH1 / SH1</a:t>
            </a:r>
          </a:p>
        </p:txBody>
      </p:sp>
      <p:sp>
        <p:nvSpPr>
          <p:cNvPr id="5" name="RCI_QVW_ChartFile_004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RCI_QVW_ExportDateTime_005" hidden="1"/>
          <p:cNvSpPr txBox="1"/>
          <p:nvPr/>
        </p:nvSpPr>
        <p:spPr>
          <a:xfrm>
            <a:off x="1411" y="0"/>
            <a:ext cx="293579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DE" sz="100">
                <a:solidFill>
                  <a:srgbClr val="FFFFFF"/>
                </a:solidFill>
                <a:latin typeface="Arial"/>
              </a:rPr>
              <a:t>2017-05-23 13:46:15</a:t>
            </a:r>
          </a:p>
        </p:txBody>
      </p:sp>
      <p:sp>
        <p:nvSpPr>
          <p:cNvPr id="7" name="RCI_QVW_ChartType_006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RCI_QVW_Left1_007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CI_QVW_Left2_008" hidden="1"/>
          <p:cNvSpPr txBox="1"/>
          <p:nvPr/>
        </p:nvSpPr>
        <p:spPr>
          <a:xfrm>
            <a:off x="1411" y="0"/>
            <a:ext cx="263133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DE" sz="100">
                <a:solidFill>
                  <a:srgbClr val="FFFFFF"/>
                </a:solidFill>
                <a:latin typeface="Arial"/>
              </a:rPr>
              <a:t>Sales Value %</a:t>
            </a:r>
          </a:p>
        </p:txBody>
      </p:sp>
      <p:sp>
        <p:nvSpPr>
          <p:cNvPr id="10" name="RCI_QVW_Left3_009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CI_QVW_Right1_010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CI_QVW_Right2_011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RCI_QVW_Right3_012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RCI_QVW_REPName_013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RCI_QVW_SHName_014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RCI_QVW_THName_015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труктура спроса отличается по </a:t>
            </a:r>
            <a:r>
              <a:rPr lang="ru-RU" dirty="0" smtClean="0"/>
              <a:t>каналам</a:t>
            </a:r>
            <a:endParaRPr lang="uk-UA" dirty="0"/>
          </a:p>
        </p:txBody>
      </p:sp>
      <p:grpSp>
        <p:nvGrpSpPr>
          <p:cNvPr id="2" name="Group 1"/>
          <p:cNvGrpSpPr/>
          <p:nvPr/>
        </p:nvGrpSpPr>
        <p:grpSpPr>
          <a:xfrm>
            <a:off x="-3175" y="-4763"/>
            <a:ext cx="9172576" cy="5153026"/>
            <a:chOff x="-3175" y="-4763"/>
            <a:chExt cx="9172576" cy="5153026"/>
          </a:xfrm>
        </p:grpSpPr>
        <p:sp>
          <p:nvSpPr>
            <p:cNvPr id="23" name="Rectangle 22"/>
            <p:cNvSpPr/>
            <p:nvPr/>
          </p:nvSpPr>
          <p:spPr bwMode="gray">
            <a:xfrm>
              <a:off x="3851919" y="1549572"/>
              <a:ext cx="1440160" cy="338437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uk-UA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Freeform 45"/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4431144" y="4261407"/>
              <a:ext cx="294856" cy="432048"/>
            </a:xfrm>
            <a:custGeom>
              <a:avLst/>
              <a:gdLst>
                <a:gd name="T0" fmla="*/ 600 w 1440"/>
                <a:gd name="T1" fmla="*/ 240 h 2120"/>
                <a:gd name="T2" fmla="*/ 840 w 1440"/>
                <a:gd name="T3" fmla="*/ 240 h 2120"/>
                <a:gd name="T4" fmla="*/ 880 w 1440"/>
                <a:gd name="T5" fmla="*/ 200 h 2120"/>
                <a:gd name="T6" fmla="*/ 840 w 1440"/>
                <a:gd name="T7" fmla="*/ 160 h 2120"/>
                <a:gd name="T8" fmla="*/ 600 w 1440"/>
                <a:gd name="T9" fmla="*/ 160 h 2120"/>
                <a:gd name="T10" fmla="*/ 560 w 1440"/>
                <a:gd name="T11" fmla="*/ 200 h 2120"/>
                <a:gd name="T12" fmla="*/ 600 w 1440"/>
                <a:gd name="T13" fmla="*/ 240 h 2120"/>
                <a:gd name="T14" fmla="*/ 721 w 1440"/>
                <a:gd name="T15" fmla="*/ 1759 h 2120"/>
                <a:gd name="T16" fmla="*/ 601 w 1440"/>
                <a:gd name="T17" fmla="*/ 1879 h 2120"/>
                <a:gd name="T18" fmla="*/ 721 w 1440"/>
                <a:gd name="T19" fmla="*/ 1999 h 2120"/>
                <a:gd name="T20" fmla="*/ 841 w 1440"/>
                <a:gd name="T21" fmla="*/ 1879 h 2120"/>
                <a:gd name="T22" fmla="*/ 721 w 1440"/>
                <a:gd name="T23" fmla="*/ 1759 h 2120"/>
                <a:gd name="T24" fmla="*/ 200 w 1440"/>
                <a:gd name="T25" fmla="*/ 0 h 2120"/>
                <a:gd name="T26" fmla="*/ 1240 w 1440"/>
                <a:gd name="T27" fmla="*/ 0 h 2120"/>
                <a:gd name="T28" fmla="*/ 1440 w 1440"/>
                <a:gd name="T29" fmla="*/ 200 h 2120"/>
                <a:gd name="T30" fmla="*/ 1440 w 1440"/>
                <a:gd name="T31" fmla="*/ 1920 h 2120"/>
                <a:gd name="T32" fmla="*/ 1240 w 1440"/>
                <a:gd name="T33" fmla="*/ 2120 h 2120"/>
                <a:gd name="T34" fmla="*/ 200 w 1440"/>
                <a:gd name="T35" fmla="*/ 2120 h 2120"/>
                <a:gd name="T36" fmla="*/ 0 w 1440"/>
                <a:gd name="T37" fmla="*/ 1920 h 2120"/>
                <a:gd name="T38" fmla="*/ 0 w 1440"/>
                <a:gd name="T39" fmla="*/ 200 h 2120"/>
                <a:gd name="T40" fmla="*/ 200 w 1440"/>
                <a:gd name="T41" fmla="*/ 0 h 2120"/>
                <a:gd name="T42" fmla="*/ 200 w 1440"/>
                <a:gd name="T43" fmla="*/ 360 h 2120"/>
                <a:gd name="T44" fmla="*/ 200 w 1440"/>
                <a:gd name="T45" fmla="*/ 1680 h 2120"/>
                <a:gd name="T46" fmla="*/ 1240 w 1440"/>
                <a:gd name="T47" fmla="*/ 1680 h 2120"/>
                <a:gd name="T48" fmla="*/ 1240 w 1440"/>
                <a:gd name="T49" fmla="*/ 360 h 2120"/>
                <a:gd name="T50" fmla="*/ 200 w 1440"/>
                <a:gd name="T51" fmla="*/ 360 h 2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0" h="2120">
                  <a:moveTo>
                    <a:pt x="600" y="240"/>
                  </a:moveTo>
                  <a:cubicBezTo>
                    <a:pt x="840" y="240"/>
                    <a:pt x="840" y="240"/>
                    <a:pt x="840" y="240"/>
                  </a:cubicBezTo>
                  <a:cubicBezTo>
                    <a:pt x="862" y="240"/>
                    <a:pt x="880" y="222"/>
                    <a:pt x="880" y="200"/>
                  </a:cubicBezTo>
                  <a:cubicBezTo>
                    <a:pt x="880" y="178"/>
                    <a:pt x="862" y="160"/>
                    <a:pt x="84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578" y="160"/>
                    <a:pt x="560" y="178"/>
                    <a:pt x="560" y="200"/>
                  </a:cubicBezTo>
                  <a:cubicBezTo>
                    <a:pt x="560" y="222"/>
                    <a:pt x="578" y="240"/>
                    <a:pt x="600" y="240"/>
                  </a:cubicBezTo>
                  <a:close/>
                  <a:moveTo>
                    <a:pt x="721" y="1759"/>
                  </a:moveTo>
                  <a:cubicBezTo>
                    <a:pt x="655" y="1759"/>
                    <a:pt x="601" y="1813"/>
                    <a:pt x="601" y="1879"/>
                  </a:cubicBezTo>
                  <a:cubicBezTo>
                    <a:pt x="601" y="1945"/>
                    <a:pt x="655" y="1999"/>
                    <a:pt x="721" y="1999"/>
                  </a:cubicBezTo>
                  <a:cubicBezTo>
                    <a:pt x="787" y="1999"/>
                    <a:pt x="841" y="1945"/>
                    <a:pt x="841" y="1879"/>
                  </a:cubicBezTo>
                  <a:cubicBezTo>
                    <a:pt x="841" y="1813"/>
                    <a:pt x="787" y="1759"/>
                    <a:pt x="721" y="1759"/>
                  </a:cubicBezTo>
                  <a:close/>
                  <a:moveTo>
                    <a:pt x="200" y="0"/>
                  </a:moveTo>
                  <a:cubicBezTo>
                    <a:pt x="1240" y="0"/>
                    <a:pt x="1240" y="0"/>
                    <a:pt x="1240" y="0"/>
                  </a:cubicBezTo>
                  <a:cubicBezTo>
                    <a:pt x="1350" y="0"/>
                    <a:pt x="1440" y="90"/>
                    <a:pt x="1440" y="200"/>
                  </a:cubicBezTo>
                  <a:cubicBezTo>
                    <a:pt x="1440" y="1920"/>
                    <a:pt x="1440" y="1920"/>
                    <a:pt x="1440" y="1920"/>
                  </a:cubicBezTo>
                  <a:cubicBezTo>
                    <a:pt x="1440" y="2030"/>
                    <a:pt x="1350" y="2120"/>
                    <a:pt x="1240" y="2120"/>
                  </a:cubicBezTo>
                  <a:cubicBezTo>
                    <a:pt x="200" y="2120"/>
                    <a:pt x="200" y="2120"/>
                    <a:pt x="200" y="2120"/>
                  </a:cubicBezTo>
                  <a:cubicBezTo>
                    <a:pt x="90" y="2120"/>
                    <a:pt x="0" y="2030"/>
                    <a:pt x="0" y="1920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90"/>
                    <a:pt x="90" y="0"/>
                    <a:pt x="200" y="0"/>
                  </a:cubicBezTo>
                  <a:close/>
                  <a:moveTo>
                    <a:pt x="200" y="360"/>
                  </a:moveTo>
                  <a:cubicBezTo>
                    <a:pt x="200" y="1680"/>
                    <a:pt x="200" y="1680"/>
                    <a:pt x="200" y="1680"/>
                  </a:cubicBezTo>
                  <a:cubicBezTo>
                    <a:pt x="1240" y="1680"/>
                    <a:pt x="1240" y="1680"/>
                    <a:pt x="1240" y="1680"/>
                  </a:cubicBezTo>
                  <a:cubicBezTo>
                    <a:pt x="1240" y="360"/>
                    <a:pt x="1240" y="360"/>
                    <a:pt x="1240" y="360"/>
                  </a:cubicBezTo>
                  <a:lnTo>
                    <a:pt x="200" y="360"/>
                  </a:lnTo>
                  <a:close/>
                </a:path>
              </a:pathLst>
            </a:custGeom>
            <a:solidFill>
              <a:srgbClr val="45C3FF"/>
            </a:solidFill>
            <a:ln>
              <a:noFill/>
            </a:ln>
            <a:effectLst/>
          </p:spPr>
          <p:txBody>
            <a:bodyPr lIns="91384" tIns="45692" rIns="91384" bIns="45692"/>
            <a:lstStyle/>
            <a:p>
              <a:pPr>
                <a:defRPr/>
              </a:pPr>
              <a:endParaRPr lang="en-US" sz="1000" b="1" noProof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endParaRPr>
            </a:p>
          </p:txBody>
        </p:sp>
        <p:sp>
          <p:nvSpPr>
            <p:cNvPr id="21" name="Freeform 102"/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4342559" y="3468770"/>
              <a:ext cx="472025" cy="340301"/>
            </a:xfrm>
            <a:custGeom>
              <a:avLst/>
              <a:gdLst>
                <a:gd name="T0" fmla="*/ 2147483647 w 2240"/>
                <a:gd name="T1" fmla="*/ 2147483647 h 1760"/>
                <a:gd name="T2" fmla="*/ 2147483647 w 2240"/>
                <a:gd name="T3" fmla="*/ 2147483647 h 1760"/>
                <a:gd name="T4" fmla="*/ 2147483647 w 2240"/>
                <a:gd name="T5" fmla="*/ 2147483647 h 1760"/>
                <a:gd name="T6" fmla="*/ 2147483647 w 2240"/>
                <a:gd name="T7" fmla="*/ 2147483647 h 1760"/>
                <a:gd name="T8" fmla="*/ 0 w 2240"/>
                <a:gd name="T9" fmla="*/ 2147483647 h 1760"/>
                <a:gd name="T10" fmla="*/ 0 w 2240"/>
                <a:gd name="T11" fmla="*/ 2147483647 h 1760"/>
                <a:gd name="T12" fmla="*/ 2147483647 w 2240"/>
                <a:gd name="T13" fmla="*/ 2147483647 h 1760"/>
                <a:gd name="T14" fmla="*/ 2147483647 w 2240"/>
                <a:gd name="T15" fmla="*/ 2147483647 h 1760"/>
                <a:gd name="T16" fmla="*/ 2147483647 w 2240"/>
                <a:gd name="T17" fmla="*/ 2147483647 h 1760"/>
                <a:gd name="T18" fmla="*/ 2147483647 w 2240"/>
                <a:gd name="T19" fmla="*/ 0 h 1760"/>
                <a:gd name="T20" fmla="*/ 2147483647 w 2240"/>
                <a:gd name="T21" fmla="*/ 0 h 1760"/>
                <a:gd name="T22" fmla="*/ 2147483647 w 2240"/>
                <a:gd name="T23" fmla="*/ 2147483647 h 1760"/>
                <a:gd name="T24" fmla="*/ 2147483647 w 2240"/>
                <a:gd name="T25" fmla="*/ 2147483647 h 1760"/>
                <a:gd name="T26" fmla="*/ 2147483647 w 2240"/>
                <a:gd name="T27" fmla="*/ 2147483647 h 1760"/>
                <a:gd name="T28" fmla="*/ 2147483647 w 2240"/>
                <a:gd name="T29" fmla="*/ 2147483647 h 1760"/>
                <a:gd name="T30" fmla="*/ 2147483647 w 2240"/>
                <a:gd name="T31" fmla="*/ 2147483647 h 1760"/>
                <a:gd name="T32" fmla="*/ 2147483647 w 2240"/>
                <a:gd name="T33" fmla="*/ 2147483647 h 1760"/>
                <a:gd name="T34" fmla="*/ 2147483647 w 2240"/>
                <a:gd name="T35" fmla="*/ 2147483647 h 1760"/>
                <a:gd name="T36" fmla="*/ 2147483647 w 2240"/>
                <a:gd name="T37" fmla="*/ 2147483647 h 1760"/>
                <a:gd name="T38" fmla="*/ 2147483647 w 2240"/>
                <a:gd name="T39" fmla="*/ 2147483647 h 1760"/>
                <a:gd name="T40" fmla="*/ 2147483647 w 2240"/>
                <a:gd name="T41" fmla="*/ 2147483647 h 1760"/>
                <a:gd name="T42" fmla="*/ 2147483647 w 2240"/>
                <a:gd name="T43" fmla="*/ 2147483647 h 1760"/>
                <a:gd name="T44" fmla="*/ 2147483647 w 2240"/>
                <a:gd name="T45" fmla="*/ 2147483647 h 1760"/>
                <a:gd name="T46" fmla="*/ 2147483647 w 2240"/>
                <a:gd name="T47" fmla="*/ 2147483647 h 1760"/>
                <a:gd name="T48" fmla="*/ 2147483647 w 2240"/>
                <a:gd name="T49" fmla="*/ 2147483647 h 1760"/>
                <a:gd name="T50" fmla="*/ 2147483647 w 2240"/>
                <a:gd name="T51" fmla="*/ 2147483647 h 1760"/>
                <a:gd name="T52" fmla="*/ 2147483647 w 2240"/>
                <a:gd name="T53" fmla="*/ 2147483647 h 1760"/>
                <a:gd name="T54" fmla="*/ 2147483647 w 2240"/>
                <a:gd name="T55" fmla="*/ 2147483647 h 1760"/>
                <a:gd name="T56" fmla="*/ 2147483647 w 2240"/>
                <a:gd name="T57" fmla="*/ 2147483647 h 1760"/>
                <a:gd name="T58" fmla="*/ 2147483647 w 2240"/>
                <a:gd name="T59" fmla="*/ 2147483647 h 1760"/>
                <a:gd name="T60" fmla="*/ 2147483647 w 2240"/>
                <a:gd name="T61" fmla="*/ 2147483647 h 1760"/>
                <a:gd name="T62" fmla="*/ 2147483647 w 2240"/>
                <a:gd name="T63" fmla="*/ 2147483647 h 17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240" h="1760">
                  <a:moveTo>
                    <a:pt x="2240" y="1360"/>
                  </a:moveTo>
                  <a:cubicBezTo>
                    <a:pt x="2240" y="1560"/>
                    <a:pt x="2240" y="1560"/>
                    <a:pt x="2240" y="1560"/>
                  </a:cubicBezTo>
                  <a:cubicBezTo>
                    <a:pt x="2240" y="1670"/>
                    <a:pt x="2150" y="1760"/>
                    <a:pt x="2040" y="1760"/>
                  </a:cubicBezTo>
                  <a:cubicBezTo>
                    <a:pt x="200" y="1760"/>
                    <a:pt x="200" y="1760"/>
                    <a:pt x="200" y="1760"/>
                  </a:cubicBezTo>
                  <a:cubicBezTo>
                    <a:pt x="90" y="1760"/>
                    <a:pt x="0" y="1670"/>
                    <a:pt x="0" y="1560"/>
                  </a:cubicBezTo>
                  <a:cubicBezTo>
                    <a:pt x="0" y="1360"/>
                    <a:pt x="0" y="1360"/>
                    <a:pt x="0" y="1360"/>
                  </a:cubicBezTo>
                  <a:cubicBezTo>
                    <a:pt x="747" y="1360"/>
                    <a:pt x="1493" y="1360"/>
                    <a:pt x="2240" y="1360"/>
                  </a:cubicBezTo>
                  <a:close/>
                  <a:moveTo>
                    <a:pt x="160" y="1280"/>
                  </a:moveTo>
                  <a:cubicBezTo>
                    <a:pt x="160" y="120"/>
                    <a:pt x="160" y="120"/>
                    <a:pt x="160" y="120"/>
                  </a:cubicBezTo>
                  <a:cubicBezTo>
                    <a:pt x="160" y="54"/>
                    <a:pt x="214" y="0"/>
                    <a:pt x="280" y="0"/>
                  </a:cubicBezTo>
                  <a:cubicBezTo>
                    <a:pt x="1960" y="0"/>
                    <a:pt x="1960" y="0"/>
                    <a:pt x="1960" y="0"/>
                  </a:cubicBezTo>
                  <a:cubicBezTo>
                    <a:pt x="2026" y="0"/>
                    <a:pt x="2080" y="54"/>
                    <a:pt x="2080" y="120"/>
                  </a:cubicBezTo>
                  <a:cubicBezTo>
                    <a:pt x="2080" y="1280"/>
                    <a:pt x="2080" y="1280"/>
                    <a:pt x="2080" y="1280"/>
                  </a:cubicBezTo>
                  <a:cubicBezTo>
                    <a:pt x="2000" y="1280"/>
                    <a:pt x="2000" y="1280"/>
                    <a:pt x="2000" y="1280"/>
                  </a:cubicBezTo>
                  <a:cubicBezTo>
                    <a:pt x="2000" y="120"/>
                    <a:pt x="2000" y="120"/>
                    <a:pt x="2000" y="120"/>
                  </a:cubicBezTo>
                  <a:cubicBezTo>
                    <a:pt x="2000" y="98"/>
                    <a:pt x="1982" y="80"/>
                    <a:pt x="1960" y="80"/>
                  </a:cubicBezTo>
                  <a:cubicBezTo>
                    <a:pt x="280" y="80"/>
                    <a:pt x="280" y="80"/>
                    <a:pt x="280" y="80"/>
                  </a:cubicBezTo>
                  <a:cubicBezTo>
                    <a:pt x="258" y="80"/>
                    <a:pt x="240" y="98"/>
                    <a:pt x="240" y="120"/>
                  </a:cubicBezTo>
                  <a:cubicBezTo>
                    <a:pt x="240" y="1280"/>
                    <a:pt x="240" y="1280"/>
                    <a:pt x="240" y="1280"/>
                  </a:cubicBezTo>
                  <a:lnTo>
                    <a:pt x="160" y="1280"/>
                  </a:lnTo>
                  <a:close/>
                  <a:moveTo>
                    <a:pt x="960" y="1600"/>
                  </a:moveTo>
                  <a:cubicBezTo>
                    <a:pt x="1280" y="1600"/>
                    <a:pt x="1280" y="1600"/>
                    <a:pt x="1280" y="1600"/>
                  </a:cubicBezTo>
                  <a:cubicBezTo>
                    <a:pt x="1302" y="1600"/>
                    <a:pt x="1320" y="1582"/>
                    <a:pt x="1320" y="1560"/>
                  </a:cubicBezTo>
                  <a:cubicBezTo>
                    <a:pt x="1320" y="1538"/>
                    <a:pt x="1302" y="1520"/>
                    <a:pt x="1280" y="1520"/>
                  </a:cubicBezTo>
                  <a:cubicBezTo>
                    <a:pt x="960" y="1520"/>
                    <a:pt x="960" y="1520"/>
                    <a:pt x="960" y="1520"/>
                  </a:cubicBezTo>
                  <a:cubicBezTo>
                    <a:pt x="938" y="1520"/>
                    <a:pt x="920" y="1538"/>
                    <a:pt x="920" y="1560"/>
                  </a:cubicBezTo>
                  <a:cubicBezTo>
                    <a:pt x="920" y="1582"/>
                    <a:pt x="938" y="1600"/>
                    <a:pt x="960" y="1600"/>
                  </a:cubicBezTo>
                  <a:close/>
                  <a:moveTo>
                    <a:pt x="320" y="1280"/>
                  </a:moveTo>
                  <a:cubicBezTo>
                    <a:pt x="320" y="160"/>
                    <a:pt x="320" y="160"/>
                    <a:pt x="320" y="160"/>
                  </a:cubicBezTo>
                  <a:cubicBezTo>
                    <a:pt x="1920" y="160"/>
                    <a:pt x="1920" y="160"/>
                    <a:pt x="1920" y="160"/>
                  </a:cubicBezTo>
                  <a:cubicBezTo>
                    <a:pt x="1920" y="1280"/>
                    <a:pt x="1920" y="1280"/>
                    <a:pt x="1920" y="1280"/>
                  </a:cubicBezTo>
                  <a:lnTo>
                    <a:pt x="320" y="1280"/>
                  </a:lnTo>
                  <a:close/>
                </a:path>
              </a:pathLst>
            </a:custGeom>
            <a:solidFill>
              <a:srgbClr val="004186"/>
            </a:solidFill>
            <a:ln>
              <a:noFill/>
            </a:ln>
            <a:extLst/>
          </p:spPr>
          <p:txBody>
            <a:bodyPr lIns="91384" tIns="45692" rIns="91384" bIns="45692"/>
            <a:lstStyle/>
            <a:p>
              <a:endParaRPr lang="en-US"/>
            </a:p>
          </p:txBody>
        </p:sp>
        <p:sp>
          <p:nvSpPr>
            <p:cNvPr id="20" name="Freeform 112"/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4404553" y="2444579"/>
              <a:ext cx="348038" cy="476472"/>
            </a:xfrm>
            <a:custGeom>
              <a:avLst/>
              <a:gdLst>
                <a:gd name="T0" fmla="*/ 2147483647 w 1520"/>
                <a:gd name="T1" fmla="*/ 2147483647 h 2080"/>
                <a:gd name="T2" fmla="*/ 2147483647 w 1520"/>
                <a:gd name="T3" fmla="*/ 2147483647 h 2080"/>
                <a:gd name="T4" fmla="*/ 2147483647 w 1520"/>
                <a:gd name="T5" fmla="*/ 2147483647 h 2080"/>
                <a:gd name="T6" fmla="*/ 2147483647 w 1520"/>
                <a:gd name="T7" fmla="*/ 2147483647 h 2080"/>
                <a:gd name="T8" fmla="*/ 2147483647 w 1520"/>
                <a:gd name="T9" fmla="*/ 2147483647 h 2080"/>
                <a:gd name="T10" fmla="*/ 2147483647 w 1520"/>
                <a:gd name="T11" fmla="*/ 0 h 2080"/>
                <a:gd name="T12" fmla="*/ 2147483647 w 1520"/>
                <a:gd name="T13" fmla="*/ 0 h 2080"/>
                <a:gd name="T14" fmla="*/ 2147483647 w 1520"/>
                <a:gd name="T15" fmla="*/ 2147483647 h 2080"/>
                <a:gd name="T16" fmla="*/ 2147483647 w 1520"/>
                <a:gd name="T17" fmla="*/ 2147483647 h 2080"/>
                <a:gd name="T18" fmla="*/ 2147483647 w 1520"/>
                <a:gd name="T19" fmla="*/ 0 h 2080"/>
                <a:gd name="T20" fmla="*/ 2147483647 w 1520"/>
                <a:gd name="T21" fmla="*/ 0 h 2080"/>
                <a:gd name="T22" fmla="*/ 0 w 1520"/>
                <a:gd name="T23" fmla="*/ 0 h 2080"/>
                <a:gd name="T24" fmla="*/ 0 w 1520"/>
                <a:gd name="T25" fmla="*/ 2147483647 h 2080"/>
                <a:gd name="T26" fmla="*/ 2147483647 w 1520"/>
                <a:gd name="T27" fmla="*/ 2147483647 h 2080"/>
                <a:gd name="T28" fmla="*/ 2147483647 w 1520"/>
                <a:gd name="T29" fmla="*/ 0 h 2080"/>
                <a:gd name="T30" fmla="*/ 0 w 1520"/>
                <a:gd name="T31" fmla="*/ 2147483647 h 2080"/>
                <a:gd name="T32" fmla="*/ 0 w 1520"/>
                <a:gd name="T33" fmla="*/ 2147483647 h 2080"/>
                <a:gd name="T34" fmla="*/ 2147483647 w 1520"/>
                <a:gd name="T35" fmla="*/ 2147483647 h 2080"/>
                <a:gd name="T36" fmla="*/ 2147483647 w 1520"/>
                <a:gd name="T37" fmla="*/ 2147483647 h 2080"/>
                <a:gd name="T38" fmla="*/ 0 w 1520"/>
                <a:gd name="T39" fmla="*/ 2147483647 h 2080"/>
                <a:gd name="T40" fmla="*/ 2147483647 w 1520"/>
                <a:gd name="T41" fmla="*/ 2147483647 h 2080"/>
                <a:gd name="T42" fmla="*/ 2147483647 w 1520"/>
                <a:gd name="T43" fmla="*/ 2147483647 h 2080"/>
                <a:gd name="T44" fmla="*/ 2147483647 w 1520"/>
                <a:gd name="T45" fmla="*/ 2147483647 h 2080"/>
                <a:gd name="T46" fmla="*/ 2147483647 w 1520"/>
                <a:gd name="T47" fmla="*/ 2147483647 h 2080"/>
                <a:gd name="T48" fmla="*/ 2147483647 w 1520"/>
                <a:gd name="T49" fmla="*/ 2147483647 h 2080"/>
                <a:gd name="T50" fmla="*/ 2147483647 w 1520"/>
                <a:gd name="T51" fmla="*/ 2147483647 h 2080"/>
                <a:gd name="T52" fmla="*/ 2147483647 w 1520"/>
                <a:gd name="T53" fmla="*/ 2147483647 h 2080"/>
                <a:gd name="T54" fmla="*/ 2147483647 w 1520"/>
                <a:gd name="T55" fmla="*/ 2147483647 h 2080"/>
                <a:gd name="T56" fmla="*/ 2147483647 w 1520"/>
                <a:gd name="T57" fmla="*/ 2147483647 h 2080"/>
                <a:gd name="T58" fmla="*/ 2147483647 w 1520"/>
                <a:gd name="T59" fmla="*/ 2147483647 h 2080"/>
                <a:gd name="T60" fmla="*/ 2147483647 w 1520"/>
                <a:gd name="T61" fmla="*/ 2147483647 h 2080"/>
                <a:gd name="T62" fmla="*/ 2147483647 w 1520"/>
                <a:gd name="T63" fmla="*/ 2147483647 h 2080"/>
                <a:gd name="T64" fmla="*/ 2147483647 w 1520"/>
                <a:gd name="T65" fmla="*/ 2147483647 h 2080"/>
                <a:gd name="T66" fmla="*/ 2147483647 w 1520"/>
                <a:gd name="T67" fmla="*/ 2147483647 h 2080"/>
                <a:gd name="T68" fmla="*/ 2147483647 w 1520"/>
                <a:gd name="T69" fmla="*/ 2147483647 h 2080"/>
                <a:gd name="T70" fmla="*/ 2147483647 w 1520"/>
                <a:gd name="T71" fmla="*/ 2147483647 h 2080"/>
                <a:gd name="T72" fmla="*/ 2147483647 w 1520"/>
                <a:gd name="T73" fmla="*/ 2147483647 h 2080"/>
                <a:gd name="T74" fmla="*/ 2147483647 w 1520"/>
                <a:gd name="T75" fmla="*/ 2147483647 h 2080"/>
                <a:gd name="T76" fmla="*/ 2147483647 w 1520"/>
                <a:gd name="T77" fmla="*/ 2147483647 h 2080"/>
                <a:gd name="T78" fmla="*/ 2147483647 w 1520"/>
                <a:gd name="T79" fmla="*/ 2147483647 h 2080"/>
                <a:gd name="T80" fmla="*/ 2147483647 w 1520"/>
                <a:gd name="T81" fmla="*/ 2147483647 h 2080"/>
                <a:gd name="T82" fmla="*/ 2147483647 w 1520"/>
                <a:gd name="T83" fmla="*/ 2147483647 h 2080"/>
                <a:gd name="T84" fmla="*/ 2147483647 w 1520"/>
                <a:gd name="T85" fmla="*/ 2147483647 h 2080"/>
                <a:gd name="T86" fmla="*/ 2147483647 w 1520"/>
                <a:gd name="T87" fmla="*/ 2147483647 h 2080"/>
                <a:gd name="T88" fmla="*/ 2147483647 w 1520"/>
                <a:gd name="T89" fmla="*/ 2147483647 h 208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520" h="2080">
                  <a:moveTo>
                    <a:pt x="1080" y="140"/>
                  </a:moveTo>
                  <a:cubicBezTo>
                    <a:pt x="1124" y="140"/>
                    <a:pt x="1160" y="176"/>
                    <a:pt x="1160" y="220"/>
                  </a:cubicBezTo>
                  <a:cubicBezTo>
                    <a:pt x="1160" y="264"/>
                    <a:pt x="1124" y="300"/>
                    <a:pt x="1080" y="300"/>
                  </a:cubicBezTo>
                  <a:cubicBezTo>
                    <a:pt x="1036" y="300"/>
                    <a:pt x="1000" y="264"/>
                    <a:pt x="1000" y="220"/>
                  </a:cubicBezTo>
                  <a:cubicBezTo>
                    <a:pt x="1000" y="176"/>
                    <a:pt x="1036" y="140"/>
                    <a:pt x="1080" y="140"/>
                  </a:cubicBezTo>
                  <a:close/>
                  <a:moveTo>
                    <a:pt x="1520" y="0"/>
                  </a:moveTo>
                  <a:cubicBezTo>
                    <a:pt x="520" y="0"/>
                    <a:pt x="520" y="0"/>
                    <a:pt x="520" y="0"/>
                  </a:cubicBezTo>
                  <a:cubicBezTo>
                    <a:pt x="520" y="360"/>
                    <a:pt x="520" y="360"/>
                    <a:pt x="520" y="360"/>
                  </a:cubicBezTo>
                  <a:cubicBezTo>
                    <a:pt x="1520" y="360"/>
                    <a:pt x="1520" y="360"/>
                    <a:pt x="1520" y="360"/>
                  </a:cubicBezTo>
                  <a:lnTo>
                    <a:pt x="1520" y="0"/>
                  </a:lnTo>
                  <a:close/>
                  <a:moveTo>
                    <a:pt x="44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60"/>
                    <a:pt x="0" y="360"/>
                    <a:pt x="0" y="360"/>
                  </a:cubicBezTo>
                  <a:cubicBezTo>
                    <a:pt x="440" y="360"/>
                    <a:pt x="440" y="360"/>
                    <a:pt x="440" y="360"/>
                  </a:cubicBezTo>
                  <a:lnTo>
                    <a:pt x="440" y="0"/>
                  </a:lnTo>
                  <a:close/>
                  <a:moveTo>
                    <a:pt x="0" y="440"/>
                  </a:moveTo>
                  <a:cubicBezTo>
                    <a:pt x="0" y="2080"/>
                    <a:pt x="0" y="2080"/>
                    <a:pt x="0" y="2080"/>
                  </a:cubicBezTo>
                  <a:cubicBezTo>
                    <a:pt x="1520" y="2080"/>
                    <a:pt x="1520" y="2080"/>
                    <a:pt x="1520" y="2080"/>
                  </a:cubicBezTo>
                  <a:cubicBezTo>
                    <a:pt x="1520" y="440"/>
                    <a:pt x="1520" y="440"/>
                    <a:pt x="1520" y="440"/>
                  </a:cubicBezTo>
                  <a:lnTo>
                    <a:pt x="0" y="440"/>
                  </a:lnTo>
                  <a:close/>
                  <a:moveTo>
                    <a:pt x="1320" y="1240"/>
                  </a:moveTo>
                  <a:cubicBezTo>
                    <a:pt x="1320" y="1549"/>
                    <a:pt x="1069" y="1800"/>
                    <a:pt x="760" y="1800"/>
                  </a:cubicBezTo>
                  <a:cubicBezTo>
                    <a:pt x="451" y="1800"/>
                    <a:pt x="200" y="1549"/>
                    <a:pt x="200" y="1240"/>
                  </a:cubicBezTo>
                  <a:cubicBezTo>
                    <a:pt x="200" y="931"/>
                    <a:pt x="451" y="680"/>
                    <a:pt x="760" y="680"/>
                  </a:cubicBezTo>
                  <a:cubicBezTo>
                    <a:pt x="1069" y="680"/>
                    <a:pt x="1320" y="931"/>
                    <a:pt x="1320" y="1240"/>
                  </a:cubicBezTo>
                  <a:close/>
                  <a:moveTo>
                    <a:pt x="760" y="760"/>
                  </a:moveTo>
                  <a:cubicBezTo>
                    <a:pt x="495" y="760"/>
                    <a:pt x="280" y="975"/>
                    <a:pt x="280" y="1240"/>
                  </a:cubicBezTo>
                  <a:cubicBezTo>
                    <a:pt x="280" y="1505"/>
                    <a:pt x="495" y="1720"/>
                    <a:pt x="760" y="1720"/>
                  </a:cubicBezTo>
                  <a:cubicBezTo>
                    <a:pt x="1025" y="1720"/>
                    <a:pt x="1240" y="1505"/>
                    <a:pt x="1240" y="1240"/>
                  </a:cubicBezTo>
                  <a:cubicBezTo>
                    <a:pt x="1240" y="975"/>
                    <a:pt x="1025" y="760"/>
                    <a:pt x="760" y="760"/>
                  </a:cubicBezTo>
                  <a:close/>
                  <a:moveTo>
                    <a:pt x="1160" y="1240"/>
                  </a:moveTo>
                  <a:cubicBezTo>
                    <a:pt x="1160" y="1461"/>
                    <a:pt x="981" y="1640"/>
                    <a:pt x="760" y="1640"/>
                  </a:cubicBezTo>
                  <a:cubicBezTo>
                    <a:pt x="539" y="1640"/>
                    <a:pt x="360" y="1461"/>
                    <a:pt x="360" y="1240"/>
                  </a:cubicBezTo>
                  <a:cubicBezTo>
                    <a:pt x="360" y="1019"/>
                    <a:pt x="539" y="840"/>
                    <a:pt x="760" y="840"/>
                  </a:cubicBezTo>
                  <a:cubicBezTo>
                    <a:pt x="981" y="840"/>
                    <a:pt x="1160" y="1019"/>
                    <a:pt x="1160" y="1240"/>
                  </a:cubicBezTo>
                  <a:close/>
                  <a:moveTo>
                    <a:pt x="1080" y="1240"/>
                  </a:moveTo>
                  <a:cubicBezTo>
                    <a:pt x="1080" y="1063"/>
                    <a:pt x="937" y="920"/>
                    <a:pt x="760" y="920"/>
                  </a:cubicBezTo>
                  <a:cubicBezTo>
                    <a:pt x="583" y="920"/>
                    <a:pt x="440" y="1063"/>
                    <a:pt x="440" y="1240"/>
                  </a:cubicBezTo>
                  <a:cubicBezTo>
                    <a:pt x="440" y="1417"/>
                    <a:pt x="583" y="1560"/>
                    <a:pt x="760" y="1560"/>
                  </a:cubicBezTo>
                  <a:cubicBezTo>
                    <a:pt x="937" y="1560"/>
                    <a:pt x="1080" y="1417"/>
                    <a:pt x="1080" y="1240"/>
                  </a:cubicBezTo>
                  <a:close/>
                  <a:moveTo>
                    <a:pt x="1280" y="140"/>
                  </a:moveTo>
                  <a:cubicBezTo>
                    <a:pt x="1324" y="140"/>
                    <a:pt x="1360" y="176"/>
                    <a:pt x="1360" y="220"/>
                  </a:cubicBezTo>
                  <a:cubicBezTo>
                    <a:pt x="1360" y="264"/>
                    <a:pt x="1324" y="300"/>
                    <a:pt x="1280" y="300"/>
                  </a:cubicBezTo>
                  <a:cubicBezTo>
                    <a:pt x="1236" y="300"/>
                    <a:pt x="1200" y="264"/>
                    <a:pt x="1200" y="220"/>
                  </a:cubicBezTo>
                  <a:cubicBezTo>
                    <a:pt x="1200" y="176"/>
                    <a:pt x="1236" y="140"/>
                    <a:pt x="1280" y="140"/>
                  </a:cubicBezTo>
                  <a:close/>
                </a:path>
              </a:pathLst>
            </a:custGeom>
            <a:solidFill>
              <a:srgbClr val="F9BE9D"/>
            </a:solidFill>
            <a:ln>
              <a:noFill/>
            </a:ln>
            <a:extLst/>
          </p:spPr>
          <p:txBody>
            <a:bodyPr lIns="91384" tIns="45692" rIns="91384" bIns="45692"/>
            <a:lstStyle/>
            <a:p>
              <a:endParaRPr lang="en-US"/>
            </a:p>
          </p:txBody>
        </p:sp>
        <p:sp>
          <p:nvSpPr>
            <p:cNvPr id="19" name="Freeform 30"/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4331176" y="1551539"/>
              <a:ext cx="484947" cy="492719"/>
            </a:xfrm>
            <a:custGeom>
              <a:avLst/>
              <a:gdLst>
                <a:gd name="T0" fmla="*/ 2147483647 w 2080"/>
                <a:gd name="T1" fmla="*/ 2147483647 h 2113"/>
                <a:gd name="T2" fmla="*/ 2147483647 w 2080"/>
                <a:gd name="T3" fmla="*/ 2147483647 h 2113"/>
                <a:gd name="T4" fmla="*/ 2147483647 w 2080"/>
                <a:gd name="T5" fmla="*/ 2147483647 h 2113"/>
                <a:gd name="T6" fmla="*/ 2147483647 w 2080"/>
                <a:gd name="T7" fmla="*/ 2147483647 h 2113"/>
                <a:gd name="T8" fmla="*/ 2147483647 w 2080"/>
                <a:gd name="T9" fmla="*/ 0 h 2113"/>
                <a:gd name="T10" fmla="*/ 2147483647 w 2080"/>
                <a:gd name="T11" fmla="*/ 2147483647 h 2113"/>
                <a:gd name="T12" fmla="*/ 2147483647 w 2080"/>
                <a:gd name="T13" fmla="*/ 2147483647 h 2113"/>
                <a:gd name="T14" fmla="*/ 2147483647 w 2080"/>
                <a:gd name="T15" fmla="*/ 2147483647 h 2113"/>
                <a:gd name="T16" fmla="*/ 2147483647 w 2080"/>
                <a:gd name="T17" fmla="*/ 2147483647 h 2113"/>
                <a:gd name="T18" fmla="*/ 2147483647 w 2080"/>
                <a:gd name="T19" fmla="*/ 2147483647 h 2113"/>
                <a:gd name="T20" fmla="*/ 2147483647 w 2080"/>
                <a:gd name="T21" fmla="*/ 2147483647 h 2113"/>
                <a:gd name="T22" fmla="*/ 0 w 2080"/>
                <a:gd name="T23" fmla="*/ 2147483647 h 2113"/>
                <a:gd name="T24" fmla="*/ 2147483647 w 2080"/>
                <a:gd name="T25" fmla="*/ 2147483647 h 2113"/>
                <a:gd name="T26" fmla="*/ 2147483647 w 2080"/>
                <a:gd name="T27" fmla="*/ 2147483647 h 2113"/>
                <a:gd name="T28" fmla="*/ 2147483647 w 2080"/>
                <a:gd name="T29" fmla="*/ 2147483647 h 2113"/>
                <a:gd name="T30" fmla="*/ 2147483647 w 2080"/>
                <a:gd name="T31" fmla="*/ 2147483647 h 2113"/>
                <a:gd name="T32" fmla="*/ 2147483647 w 2080"/>
                <a:gd name="T33" fmla="*/ 2147483647 h 2113"/>
                <a:gd name="T34" fmla="*/ 2147483647 w 2080"/>
                <a:gd name="T35" fmla="*/ 2147483647 h 2113"/>
                <a:gd name="T36" fmla="*/ 2147483647 w 2080"/>
                <a:gd name="T37" fmla="*/ 2147483647 h 2113"/>
                <a:gd name="T38" fmla="*/ 2147483647 w 2080"/>
                <a:gd name="T39" fmla="*/ 2147483647 h 2113"/>
                <a:gd name="T40" fmla="*/ 2147483647 w 2080"/>
                <a:gd name="T41" fmla="*/ 2147483647 h 2113"/>
                <a:gd name="T42" fmla="*/ 2147483647 w 2080"/>
                <a:gd name="T43" fmla="*/ 2147483647 h 2113"/>
                <a:gd name="T44" fmla="*/ 2147483647 w 2080"/>
                <a:gd name="T45" fmla="*/ 2147483647 h 2113"/>
                <a:gd name="T46" fmla="*/ 2147483647 w 2080"/>
                <a:gd name="T47" fmla="*/ 2147483647 h 2113"/>
                <a:gd name="T48" fmla="*/ 2147483647 w 2080"/>
                <a:gd name="T49" fmla="*/ 2147483647 h 2113"/>
                <a:gd name="T50" fmla="*/ 2147483647 w 2080"/>
                <a:gd name="T51" fmla="*/ 2147483647 h 2113"/>
                <a:gd name="T52" fmla="*/ 2147483647 w 2080"/>
                <a:gd name="T53" fmla="*/ 2147483647 h 2113"/>
                <a:gd name="T54" fmla="*/ 2147483647 w 2080"/>
                <a:gd name="T55" fmla="*/ 2147483647 h 2113"/>
                <a:gd name="T56" fmla="*/ 2147483647 w 2080"/>
                <a:gd name="T57" fmla="*/ 2147483647 h 2113"/>
                <a:gd name="T58" fmla="*/ 2147483647 w 2080"/>
                <a:gd name="T59" fmla="*/ 2147483647 h 2113"/>
                <a:gd name="T60" fmla="*/ 2147483647 w 2080"/>
                <a:gd name="T61" fmla="*/ 2147483647 h 2113"/>
                <a:gd name="T62" fmla="*/ 2147483647 w 2080"/>
                <a:gd name="T63" fmla="*/ 2147483647 h 2113"/>
                <a:gd name="T64" fmla="*/ 2147483647 w 2080"/>
                <a:gd name="T65" fmla="*/ 2147483647 h 211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080" h="2113">
                  <a:moveTo>
                    <a:pt x="1760" y="1633"/>
                  </a:moveTo>
                  <a:cubicBezTo>
                    <a:pt x="1716" y="1633"/>
                    <a:pt x="1680" y="1669"/>
                    <a:pt x="1680" y="1713"/>
                  </a:cubicBezTo>
                  <a:cubicBezTo>
                    <a:pt x="1680" y="1757"/>
                    <a:pt x="1716" y="1793"/>
                    <a:pt x="1760" y="1793"/>
                  </a:cubicBezTo>
                  <a:cubicBezTo>
                    <a:pt x="1804" y="1793"/>
                    <a:pt x="1840" y="1757"/>
                    <a:pt x="1840" y="1713"/>
                  </a:cubicBezTo>
                  <a:cubicBezTo>
                    <a:pt x="1840" y="1669"/>
                    <a:pt x="1804" y="1633"/>
                    <a:pt x="1760" y="1633"/>
                  </a:cubicBezTo>
                  <a:close/>
                  <a:moveTo>
                    <a:pt x="388" y="5"/>
                  </a:moveTo>
                  <a:cubicBezTo>
                    <a:pt x="810" y="426"/>
                    <a:pt x="810" y="426"/>
                    <a:pt x="810" y="426"/>
                  </a:cubicBezTo>
                  <a:cubicBezTo>
                    <a:pt x="841" y="405"/>
                    <a:pt x="879" y="393"/>
                    <a:pt x="920" y="393"/>
                  </a:cubicBezTo>
                  <a:cubicBezTo>
                    <a:pt x="975" y="393"/>
                    <a:pt x="1025" y="415"/>
                    <a:pt x="1061" y="451"/>
                  </a:cubicBezTo>
                  <a:cubicBezTo>
                    <a:pt x="1738" y="0"/>
                    <a:pt x="1738" y="0"/>
                    <a:pt x="1738" y="0"/>
                  </a:cubicBezTo>
                  <a:cubicBezTo>
                    <a:pt x="1782" y="66"/>
                    <a:pt x="1782" y="66"/>
                    <a:pt x="1782" y="66"/>
                  </a:cubicBezTo>
                  <a:cubicBezTo>
                    <a:pt x="1105" y="517"/>
                    <a:pt x="1105" y="517"/>
                    <a:pt x="1105" y="517"/>
                  </a:cubicBezTo>
                  <a:cubicBezTo>
                    <a:pt x="1110" y="529"/>
                    <a:pt x="1114" y="541"/>
                    <a:pt x="1116" y="553"/>
                  </a:cubicBezTo>
                  <a:cubicBezTo>
                    <a:pt x="2080" y="553"/>
                    <a:pt x="2080" y="553"/>
                    <a:pt x="2080" y="553"/>
                  </a:cubicBezTo>
                  <a:cubicBezTo>
                    <a:pt x="2080" y="2033"/>
                    <a:pt x="2080" y="2033"/>
                    <a:pt x="2080" y="2033"/>
                  </a:cubicBezTo>
                  <a:cubicBezTo>
                    <a:pt x="1920" y="2033"/>
                    <a:pt x="1920" y="2033"/>
                    <a:pt x="1920" y="2033"/>
                  </a:cubicBezTo>
                  <a:cubicBezTo>
                    <a:pt x="1920" y="2113"/>
                    <a:pt x="1920" y="2113"/>
                    <a:pt x="1920" y="2113"/>
                  </a:cubicBezTo>
                  <a:cubicBezTo>
                    <a:pt x="1813" y="2113"/>
                    <a:pt x="1707" y="2113"/>
                    <a:pt x="1600" y="2113"/>
                  </a:cubicBezTo>
                  <a:cubicBezTo>
                    <a:pt x="1600" y="2033"/>
                    <a:pt x="1600" y="2033"/>
                    <a:pt x="1600" y="2033"/>
                  </a:cubicBezTo>
                  <a:cubicBezTo>
                    <a:pt x="480" y="2033"/>
                    <a:pt x="480" y="2033"/>
                    <a:pt x="480" y="2033"/>
                  </a:cubicBezTo>
                  <a:cubicBezTo>
                    <a:pt x="480" y="2113"/>
                    <a:pt x="480" y="2113"/>
                    <a:pt x="480" y="2113"/>
                  </a:cubicBezTo>
                  <a:cubicBezTo>
                    <a:pt x="160" y="2113"/>
                    <a:pt x="160" y="2113"/>
                    <a:pt x="160" y="2113"/>
                  </a:cubicBezTo>
                  <a:cubicBezTo>
                    <a:pt x="160" y="2033"/>
                    <a:pt x="160" y="2033"/>
                    <a:pt x="160" y="2033"/>
                  </a:cubicBezTo>
                  <a:cubicBezTo>
                    <a:pt x="0" y="2033"/>
                    <a:pt x="0" y="2033"/>
                    <a:pt x="0" y="2033"/>
                  </a:cubicBezTo>
                  <a:cubicBezTo>
                    <a:pt x="0" y="553"/>
                    <a:pt x="0" y="553"/>
                    <a:pt x="0" y="553"/>
                  </a:cubicBezTo>
                  <a:cubicBezTo>
                    <a:pt x="724" y="553"/>
                    <a:pt x="724" y="553"/>
                    <a:pt x="724" y="553"/>
                  </a:cubicBezTo>
                  <a:cubicBezTo>
                    <a:pt x="729" y="527"/>
                    <a:pt x="739" y="504"/>
                    <a:pt x="753" y="483"/>
                  </a:cubicBezTo>
                  <a:cubicBezTo>
                    <a:pt x="332" y="61"/>
                    <a:pt x="332" y="61"/>
                    <a:pt x="332" y="61"/>
                  </a:cubicBezTo>
                  <a:lnTo>
                    <a:pt x="388" y="5"/>
                  </a:lnTo>
                  <a:close/>
                  <a:moveTo>
                    <a:pt x="1760" y="1393"/>
                  </a:moveTo>
                  <a:cubicBezTo>
                    <a:pt x="1716" y="1393"/>
                    <a:pt x="1680" y="1429"/>
                    <a:pt x="1680" y="1473"/>
                  </a:cubicBezTo>
                  <a:cubicBezTo>
                    <a:pt x="1680" y="1517"/>
                    <a:pt x="1716" y="1553"/>
                    <a:pt x="1760" y="1553"/>
                  </a:cubicBezTo>
                  <a:cubicBezTo>
                    <a:pt x="1804" y="1553"/>
                    <a:pt x="1840" y="1517"/>
                    <a:pt x="1840" y="1473"/>
                  </a:cubicBezTo>
                  <a:cubicBezTo>
                    <a:pt x="1840" y="1429"/>
                    <a:pt x="1804" y="1393"/>
                    <a:pt x="1760" y="1393"/>
                  </a:cubicBezTo>
                  <a:close/>
                  <a:moveTo>
                    <a:pt x="1600" y="1153"/>
                  </a:moveTo>
                  <a:cubicBezTo>
                    <a:pt x="1600" y="1233"/>
                    <a:pt x="1600" y="1233"/>
                    <a:pt x="1600" y="1233"/>
                  </a:cubicBezTo>
                  <a:cubicBezTo>
                    <a:pt x="1920" y="1233"/>
                    <a:pt x="1920" y="1233"/>
                    <a:pt x="1920" y="1233"/>
                  </a:cubicBezTo>
                  <a:cubicBezTo>
                    <a:pt x="1920" y="1153"/>
                    <a:pt x="1920" y="1153"/>
                    <a:pt x="1920" y="1153"/>
                  </a:cubicBezTo>
                  <a:lnTo>
                    <a:pt x="1600" y="1153"/>
                  </a:lnTo>
                  <a:close/>
                  <a:moveTo>
                    <a:pt x="1600" y="993"/>
                  </a:moveTo>
                  <a:cubicBezTo>
                    <a:pt x="1600" y="1073"/>
                    <a:pt x="1600" y="1073"/>
                    <a:pt x="1600" y="1073"/>
                  </a:cubicBezTo>
                  <a:cubicBezTo>
                    <a:pt x="1920" y="1073"/>
                    <a:pt x="1920" y="1073"/>
                    <a:pt x="1920" y="1073"/>
                  </a:cubicBezTo>
                  <a:cubicBezTo>
                    <a:pt x="1920" y="993"/>
                    <a:pt x="1920" y="993"/>
                    <a:pt x="1920" y="993"/>
                  </a:cubicBezTo>
                  <a:lnTo>
                    <a:pt x="1600" y="993"/>
                  </a:lnTo>
                  <a:close/>
                  <a:moveTo>
                    <a:pt x="1600" y="833"/>
                  </a:moveTo>
                  <a:cubicBezTo>
                    <a:pt x="1600" y="913"/>
                    <a:pt x="1600" y="913"/>
                    <a:pt x="1600" y="913"/>
                  </a:cubicBezTo>
                  <a:cubicBezTo>
                    <a:pt x="1920" y="913"/>
                    <a:pt x="1920" y="913"/>
                    <a:pt x="1920" y="913"/>
                  </a:cubicBezTo>
                  <a:cubicBezTo>
                    <a:pt x="1920" y="833"/>
                    <a:pt x="1920" y="833"/>
                    <a:pt x="1920" y="833"/>
                  </a:cubicBezTo>
                  <a:lnTo>
                    <a:pt x="1600" y="833"/>
                  </a:lnTo>
                  <a:close/>
                  <a:moveTo>
                    <a:pt x="400" y="713"/>
                  </a:moveTo>
                  <a:cubicBezTo>
                    <a:pt x="268" y="713"/>
                    <a:pt x="160" y="821"/>
                    <a:pt x="160" y="953"/>
                  </a:cubicBezTo>
                  <a:cubicBezTo>
                    <a:pt x="160" y="1633"/>
                    <a:pt x="160" y="1633"/>
                    <a:pt x="160" y="1633"/>
                  </a:cubicBezTo>
                  <a:cubicBezTo>
                    <a:pt x="160" y="1765"/>
                    <a:pt x="268" y="1873"/>
                    <a:pt x="400" y="1873"/>
                  </a:cubicBezTo>
                  <a:cubicBezTo>
                    <a:pt x="1280" y="1873"/>
                    <a:pt x="1280" y="1873"/>
                    <a:pt x="1280" y="1873"/>
                  </a:cubicBezTo>
                  <a:cubicBezTo>
                    <a:pt x="1412" y="1873"/>
                    <a:pt x="1520" y="1765"/>
                    <a:pt x="1520" y="1633"/>
                  </a:cubicBezTo>
                  <a:cubicBezTo>
                    <a:pt x="1520" y="953"/>
                    <a:pt x="1520" y="953"/>
                    <a:pt x="1520" y="953"/>
                  </a:cubicBezTo>
                  <a:cubicBezTo>
                    <a:pt x="1520" y="821"/>
                    <a:pt x="1412" y="713"/>
                    <a:pt x="1280" y="713"/>
                  </a:cubicBezTo>
                  <a:lnTo>
                    <a:pt x="400" y="713"/>
                  </a:lnTo>
                  <a:close/>
                  <a:moveTo>
                    <a:pt x="1280" y="793"/>
                  </a:moveTo>
                  <a:cubicBezTo>
                    <a:pt x="1368" y="793"/>
                    <a:pt x="1440" y="865"/>
                    <a:pt x="1440" y="953"/>
                  </a:cubicBezTo>
                  <a:cubicBezTo>
                    <a:pt x="1440" y="1633"/>
                    <a:pt x="1440" y="1633"/>
                    <a:pt x="1440" y="1633"/>
                  </a:cubicBezTo>
                  <a:cubicBezTo>
                    <a:pt x="1440" y="1721"/>
                    <a:pt x="1368" y="1793"/>
                    <a:pt x="1280" y="1793"/>
                  </a:cubicBezTo>
                  <a:cubicBezTo>
                    <a:pt x="400" y="1793"/>
                    <a:pt x="400" y="1793"/>
                    <a:pt x="400" y="1793"/>
                  </a:cubicBezTo>
                  <a:cubicBezTo>
                    <a:pt x="312" y="1793"/>
                    <a:pt x="240" y="1721"/>
                    <a:pt x="240" y="1633"/>
                  </a:cubicBezTo>
                  <a:cubicBezTo>
                    <a:pt x="240" y="953"/>
                    <a:pt x="240" y="953"/>
                    <a:pt x="240" y="953"/>
                  </a:cubicBezTo>
                  <a:cubicBezTo>
                    <a:pt x="240" y="865"/>
                    <a:pt x="312" y="793"/>
                    <a:pt x="400" y="793"/>
                  </a:cubicBezTo>
                  <a:lnTo>
                    <a:pt x="1280" y="79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lIns="91384" tIns="45692" rIns="91384" bIns="45692"/>
            <a:lstStyle/>
            <a:p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07504" y="804054"/>
              <a:ext cx="8928992" cy="57185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uk-UA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AutoShape 3"/>
            <p:cNvSpPr>
              <a:spLocks noChangeAspect="1" noChangeArrowheads="1" noTextEdit="1"/>
            </p:cNvSpPr>
            <p:nvPr/>
          </p:nvSpPr>
          <p:spPr bwMode="auto">
            <a:xfrm>
              <a:off x="1588" y="0"/>
              <a:ext cx="9140825" cy="5143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27" name="Rectangle 5"/>
            <p:cNvSpPr>
              <a:spLocks noChangeArrowheads="1"/>
            </p:cNvSpPr>
            <p:nvPr/>
          </p:nvSpPr>
          <p:spPr bwMode="auto">
            <a:xfrm>
              <a:off x="-3175" y="-4763"/>
              <a:ext cx="3175" cy="3175"/>
            </a:xfrm>
            <a:prstGeom prst="rect">
              <a:avLst/>
            </a:prstGeom>
            <a:noFill/>
            <a:ln w="0" cap="flat">
              <a:solidFill>
                <a:srgbClr val="FF660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28" name="Rectangle 6"/>
            <p:cNvSpPr>
              <a:spLocks noChangeArrowheads="1"/>
            </p:cNvSpPr>
            <p:nvPr/>
          </p:nvSpPr>
          <p:spPr bwMode="auto">
            <a:xfrm>
              <a:off x="9166226" y="5145088"/>
              <a:ext cx="3175" cy="3175"/>
            </a:xfrm>
            <a:prstGeom prst="rect">
              <a:avLst/>
            </a:prstGeom>
            <a:no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auto">
            <a:xfrm>
              <a:off x="133351" y="852488"/>
              <a:ext cx="8896350" cy="371475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30" name="Rectangle 8"/>
            <p:cNvSpPr>
              <a:spLocks noChangeArrowheads="1"/>
            </p:cNvSpPr>
            <p:nvPr/>
          </p:nvSpPr>
          <p:spPr bwMode="auto">
            <a:xfrm>
              <a:off x="6129338" y="1058863"/>
              <a:ext cx="877888" cy="171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9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Sales </a:t>
              </a:r>
              <a:r>
                <a:rPr kumimoji="0" lang="uk-UA" altLang="uk-UA" sz="900" b="0" i="0" u="none" strike="noStrike" cap="none" normalizeH="0" baseline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Value</a:t>
              </a:r>
              <a:r>
                <a:rPr kumimoji="0" lang="uk-UA" altLang="uk-UA" sz="9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 %</a:t>
              </a:r>
              <a:endParaRPr kumimoji="0" lang="uk-UA" altLang="uk-UA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2" name="Rectangle 10"/>
            <p:cNvSpPr>
              <a:spLocks noChangeArrowheads="1"/>
            </p:cNvSpPr>
            <p:nvPr/>
          </p:nvSpPr>
          <p:spPr bwMode="auto">
            <a:xfrm>
              <a:off x="363538" y="1392238"/>
              <a:ext cx="814388" cy="144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4-Dec 14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" name="Rectangle 14"/>
            <p:cNvSpPr>
              <a:spLocks noChangeArrowheads="1"/>
            </p:cNvSpPr>
            <p:nvPr/>
          </p:nvSpPr>
          <p:spPr bwMode="auto">
            <a:xfrm>
              <a:off x="5395913" y="1392238"/>
              <a:ext cx="814388" cy="144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4-Dec 14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" name="Rectangle 15"/>
            <p:cNvSpPr>
              <a:spLocks noChangeArrowheads="1"/>
            </p:cNvSpPr>
            <p:nvPr/>
          </p:nvSpPr>
          <p:spPr bwMode="auto">
            <a:xfrm>
              <a:off x="6291263" y="1392238"/>
              <a:ext cx="814388" cy="144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5-Dec 15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" name="Rectangle 16"/>
            <p:cNvSpPr>
              <a:spLocks noChangeArrowheads="1"/>
            </p:cNvSpPr>
            <p:nvPr/>
          </p:nvSpPr>
          <p:spPr bwMode="auto">
            <a:xfrm>
              <a:off x="7196138" y="1392238"/>
              <a:ext cx="814388" cy="144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6-Dec 16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9" name="Rectangle 17"/>
            <p:cNvSpPr>
              <a:spLocks noChangeArrowheads="1"/>
            </p:cNvSpPr>
            <p:nvPr/>
          </p:nvSpPr>
          <p:spPr bwMode="auto">
            <a:xfrm>
              <a:off x="8093076" y="1392238"/>
              <a:ext cx="814388" cy="144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7-Mar 17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Rectangle 18"/>
            <p:cNvSpPr>
              <a:spLocks noChangeArrowheads="1"/>
            </p:cNvSpPr>
            <p:nvPr/>
          </p:nvSpPr>
          <p:spPr bwMode="auto">
            <a:xfrm>
              <a:off x="1730376" y="1265238"/>
              <a:ext cx="777875" cy="144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9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Internet Sales</a:t>
              </a:r>
              <a:endParaRPr kumimoji="0" lang="uk-UA" altLang="uk-UA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" name="Rectangle 19"/>
            <p:cNvSpPr>
              <a:spLocks noChangeArrowheads="1"/>
            </p:cNvSpPr>
            <p:nvPr/>
          </p:nvSpPr>
          <p:spPr bwMode="auto">
            <a:xfrm>
              <a:off x="6689726" y="1265238"/>
              <a:ext cx="923925" cy="144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9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Traditional Sales</a:t>
              </a:r>
              <a:endParaRPr kumimoji="0" lang="uk-UA" altLang="uk-UA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20"/>
            <p:cNvSpPr>
              <a:spLocks noChangeArrowheads="1"/>
            </p:cNvSpPr>
            <p:nvPr/>
          </p:nvSpPr>
          <p:spPr bwMode="auto">
            <a:xfrm>
              <a:off x="309563" y="4333875"/>
              <a:ext cx="817563" cy="5699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43" name="Rectangle 21"/>
            <p:cNvSpPr>
              <a:spLocks noChangeArrowheads="1"/>
            </p:cNvSpPr>
            <p:nvPr/>
          </p:nvSpPr>
          <p:spPr bwMode="auto">
            <a:xfrm>
              <a:off x="309563" y="4333875"/>
              <a:ext cx="817563" cy="569913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44" name="Rectangle 22"/>
            <p:cNvSpPr>
              <a:spLocks noChangeArrowheads="1"/>
            </p:cNvSpPr>
            <p:nvPr/>
          </p:nvSpPr>
          <p:spPr bwMode="auto">
            <a:xfrm>
              <a:off x="614043" y="4511109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17</a:t>
              </a:r>
              <a:endParaRPr kumimoji="0" lang="uk-UA" altLang="uk-UA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5" name="Rectangle 23"/>
            <p:cNvSpPr>
              <a:spLocks noChangeArrowheads="1"/>
            </p:cNvSpPr>
            <p:nvPr/>
          </p:nvSpPr>
          <p:spPr bwMode="auto">
            <a:xfrm>
              <a:off x="309563" y="3313113"/>
              <a:ext cx="817563" cy="10191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46" name="Rectangle 24"/>
            <p:cNvSpPr>
              <a:spLocks noChangeArrowheads="1"/>
            </p:cNvSpPr>
            <p:nvPr/>
          </p:nvSpPr>
          <p:spPr bwMode="auto">
            <a:xfrm>
              <a:off x="309563" y="3313113"/>
              <a:ext cx="817563" cy="1019175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47" name="Rectangle 25"/>
            <p:cNvSpPr>
              <a:spLocks noChangeArrowheads="1"/>
            </p:cNvSpPr>
            <p:nvPr/>
          </p:nvSpPr>
          <p:spPr bwMode="auto">
            <a:xfrm>
              <a:off x="666687" y="3669169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31</a:t>
              </a:r>
              <a:endParaRPr kumimoji="0" lang="uk-UA" altLang="uk-UA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" name="Rectangle 26"/>
            <p:cNvSpPr>
              <a:spLocks noChangeArrowheads="1"/>
            </p:cNvSpPr>
            <p:nvPr/>
          </p:nvSpPr>
          <p:spPr bwMode="auto">
            <a:xfrm>
              <a:off x="309563" y="2168525"/>
              <a:ext cx="817563" cy="114458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49" name="Rectangle 27"/>
            <p:cNvSpPr>
              <a:spLocks noChangeArrowheads="1"/>
            </p:cNvSpPr>
            <p:nvPr/>
          </p:nvSpPr>
          <p:spPr bwMode="auto">
            <a:xfrm>
              <a:off x="309563" y="2168525"/>
              <a:ext cx="817563" cy="114458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50" name="Rectangle 28"/>
            <p:cNvSpPr>
              <a:spLocks noChangeArrowheads="1"/>
            </p:cNvSpPr>
            <p:nvPr/>
          </p:nvSpPr>
          <p:spPr bwMode="auto">
            <a:xfrm>
              <a:off x="641337" y="2591028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34</a:t>
              </a:r>
              <a:endParaRPr kumimoji="0" lang="uk-UA" altLang="uk-UA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" name="Rectangle 29"/>
            <p:cNvSpPr>
              <a:spLocks noChangeArrowheads="1"/>
            </p:cNvSpPr>
            <p:nvPr/>
          </p:nvSpPr>
          <p:spPr bwMode="auto">
            <a:xfrm>
              <a:off x="309563" y="1557338"/>
              <a:ext cx="817563" cy="60801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52" name="Rectangle 30"/>
            <p:cNvSpPr>
              <a:spLocks noChangeArrowheads="1"/>
            </p:cNvSpPr>
            <p:nvPr/>
          </p:nvSpPr>
          <p:spPr bwMode="auto">
            <a:xfrm>
              <a:off x="309563" y="1557338"/>
              <a:ext cx="817563" cy="608013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53" name="Rectangle 31"/>
            <p:cNvSpPr>
              <a:spLocks noChangeArrowheads="1"/>
            </p:cNvSpPr>
            <p:nvPr/>
          </p:nvSpPr>
          <p:spPr bwMode="auto">
            <a:xfrm>
              <a:off x="587208" y="1733442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18</a:t>
              </a:r>
              <a:endParaRPr kumimoji="0" lang="uk-UA" altLang="uk-UA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" name="Rectangle 32"/>
            <p:cNvSpPr>
              <a:spLocks noChangeArrowheads="1"/>
            </p:cNvSpPr>
            <p:nvPr/>
          </p:nvSpPr>
          <p:spPr bwMode="auto">
            <a:xfrm>
              <a:off x="1208088" y="4279900"/>
              <a:ext cx="817563" cy="62388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55" name="Rectangle 33"/>
            <p:cNvSpPr>
              <a:spLocks noChangeArrowheads="1"/>
            </p:cNvSpPr>
            <p:nvPr/>
          </p:nvSpPr>
          <p:spPr bwMode="auto">
            <a:xfrm>
              <a:off x="1208088" y="4279900"/>
              <a:ext cx="817563" cy="62388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56" name="Rectangle 34"/>
            <p:cNvSpPr>
              <a:spLocks noChangeArrowheads="1"/>
            </p:cNvSpPr>
            <p:nvPr/>
          </p:nvSpPr>
          <p:spPr bwMode="auto">
            <a:xfrm>
              <a:off x="1526089" y="4461526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19</a:t>
              </a:r>
              <a:endParaRPr kumimoji="0" lang="uk-UA" altLang="uk-UA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7" name="Rectangle 35"/>
            <p:cNvSpPr>
              <a:spLocks noChangeArrowheads="1"/>
            </p:cNvSpPr>
            <p:nvPr/>
          </p:nvSpPr>
          <p:spPr bwMode="auto">
            <a:xfrm>
              <a:off x="1208088" y="3268663"/>
              <a:ext cx="817563" cy="10112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58" name="Rectangle 36"/>
            <p:cNvSpPr>
              <a:spLocks noChangeArrowheads="1"/>
            </p:cNvSpPr>
            <p:nvPr/>
          </p:nvSpPr>
          <p:spPr bwMode="auto">
            <a:xfrm>
              <a:off x="1208088" y="3268663"/>
              <a:ext cx="817563" cy="101123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59" name="Rectangle 37"/>
            <p:cNvSpPr>
              <a:spLocks noChangeArrowheads="1"/>
            </p:cNvSpPr>
            <p:nvPr/>
          </p:nvSpPr>
          <p:spPr bwMode="auto">
            <a:xfrm>
              <a:off x="1581944" y="3631492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30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0" name="Rectangle 38"/>
            <p:cNvSpPr>
              <a:spLocks noChangeArrowheads="1"/>
            </p:cNvSpPr>
            <p:nvPr/>
          </p:nvSpPr>
          <p:spPr bwMode="auto">
            <a:xfrm>
              <a:off x="1208088" y="2055813"/>
              <a:ext cx="817563" cy="121285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61" name="Rectangle 39"/>
            <p:cNvSpPr>
              <a:spLocks noChangeArrowheads="1"/>
            </p:cNvSpPr>
            <p:nvPr/>
          </p:nvSpPr>
          <p:spPr bwMode="auto">
            <a:xfrm>
              <a:off x="1208088" y="2055813"/>
              <a:ext cx="817563" cy="121285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62" name="Rectangle 40"/>
            <p:cNvSpPr>
              <a:spLocks noChangeArrowheads="1"/>
            </p:cNvSpPr>
            <p:nvPr/>
          </p:nvSpPr>
          <p:spPr bwMode="auto">
            <a:xfrm>
              <a:off x="1536687" y="2519591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36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3" name="Rectangle 41"/>
            <p:cNvSpPr>
              <a:spLocks noChangeArrowheads="1"/>
            </p:cNvSpPr>
            <p:nvPr/>
          </p:nvSpPr>
          <p:spPr bwMode="auto">
            <a:xfrm>
              <a:off x="1208088" y="1557338"/>
              <a:ext cx="817563" cy="4984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64" name="Rectangle 42"/>
            <p:cNvSpPr>
              <a:spLocks noChangeArrowheads="1"/>
            </p:cNvSpPr>
            <p:nvPr/>
          </p:nvSpPr>
          <p:spPr bwMode="auto">
            <a:xfrm>
              <a:off x="1208088" y="1557338"/>
              <a:ext cx="817563" cy="498475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1482558" y="1679467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15</a:t>
              </a:r>
              <a:endParaRPr kumimoji="0" lang="uk-UA" altLang="uk-UA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6" name="Rectangle 44"/>
            <p:cNvSpPr>
              <a:spLocks noChangeArrowheads="1"/>
            </p:cNvSpPr>
            <p:nvPr/>
          </p:nvSpPr>
          <p:spPr bwMode="auto">
            <a:xfrm>
              <a:off x="2109788" y="4198938"/>
              <a:ext cx="817563" cy="70485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67" name="Rectangle 45"/>
            <p:cNvSpPr>
              <a:spLocks noChangeArrowheads="1"/>
            </p:cNvSpPr>
            <p:nvPr/>
          </p:nvSpPr>
          <p:spPr bwMode="auto">
            <a:xfrm>
              <a:off x="2109788" y="4198938"/>
              <a:ext cx="817563" cy="70485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68" name="Rectangle 46"/>
            <p:cNvSpPr>
              <a:spLocks noChangeArrowheads="1"/>
            </p:cNvSpPr>
            <p:nvPr/>
          </p:nvSpPr>
          <p:spPr bwMode="auto">
            <a:xfrm>
              <a:off x="2431902" y="4413911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21</a:t>
              </a:r>
              <a:endParaRPr kumimoji="0" lang="uk-UA" altLang="uk-UA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" name="Rectangle 47"/>
            <p:cNvSpPr>
              <a:spLocks noChangeArrowheads="1"/>
            </p:cNvSpPr>
            <p:nvPr/>
          </p:nvSpPr>
          <p:spPr bwMode="auto">
            <a:xfrm>
              <a:off x="2109788" y="3163888"/>
              <a:ext cx="817563" cy="1035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70" name="Rectangle 48"/>
            <p:cNvSpPr>
              <a:spLocks noChangeArrowheads="1"/>
            </p:cNvSpPr>
            <p:nvPr/>
          </p:nvSpPr>
          <p:spPr bwMode="auto">
            <a:xfrm>
              <a:off x="2109788" y="3163888"/>
              <a:ext cx="817563" cy="103505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71" name="Rectangle 49"/>
            <p:cNvSpPr>
              <a:spLocks noChangeArrowheads="1"/>
            </p:cNvSpPr>
            <p:nvPr/>
          </p:nvSpPr>
          <p:spPr bwMode="auto">
            <a:xfrm>
              <a:off x="2441562" y="3592741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31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2" name="Rectangle 50"/>
            <p:cNvSpPr>
              <a:spLocks noChangeArrowheads="1"/>
            </p:cNvSpPr>
            <p:nvPr/>
          </p:nvSpPr>
          <p:spPr bwMode="auto">
            <a:xfrm>
              <a:off x="2109788" y="2008188"/>
              <a:ext cx="817563" cy="11557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73" name="Rectangle 51"/>
            <p:cNvSpPr>
              <a:spLocks noChangeArrowheads="1"/>
            </p:cNvSpPr>
            <p:nvPr/>
          </p:nvSpPr>
          <p:spPr bwMode="auto">
            <a:xfrm>
              <a:off x="2109788" y="2008188"/>
              <a:ext cx="817563" cy="115570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74" name="Rectangle 52"/>
            <p:cNvSpPr>
              <a:spLocks noChangeArrowheads="1"/>
            </p:cNvSpPr>
            <p:nvPr/>
          </p:nvSpPr>
          <p:spPr bwMode="auto">
            <a:xfrm>
              <a:off x="2441562" y="2437041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35</a:t>
              </a:r>
              <a:endParaRPr kumimoji="0" lang="uk-UA" altLang="uk-UA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5" name="Rectangle 53"/>
            <p:cNvSpPr>
              <a:spLocks noChangeArrowheads="1"/>
            </p:cNvSpPr>
            <p:nvPr/>
          </p:nvSpPr>
          <p:spPr bwMode="auto">
            <a:xfrm>
              <a:off x="2109788" y="1557338"/>
              <a:ext cx="817563" cy="4508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76" name="Rectangle 54"/>
            <p:cNvSpPr>
              <a:spLocks noChangeArrowheads="1"/>
            </p:cNvSpPr>
            <p:nvPr/>
          </p:nvSpPr>
          <p:spPr bwMode="auto">
            <a:xfrm>
              <a:off x="2109788" y="1557338"/>
              <a:ext cx="817563" cy="45085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77" name="Rectangle 55"/>
            <p:cNvSpPr>
              <a:spLocks noChangeArrowheads="1"/>
            </p:cNvSpPr>
            <p:nvPr/>
          </p:nvSpPr>
          <p:spPr bwMode="auto">
            <a:xfrm>
              <a:off x="2387433" y="1660417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13</a:t>
              </a:r>
              <a:endParaRPr kumimoji="0" lang="uk-UA" altLang="uk-UA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8" name="Rectangle 56"/>
            <p:cNvSpPr>
              <a:spLocks noChangeArrowheads="1"/>
            </p:cNvSpPr>
            <p:nvPr/>
          </p:nvSpPr>
          <p:spPr bwMode="auto">
            <a:xfrm>
              <a:off x="3008313" y="4157663"/>
              <a:ext cx="817563" cy="7461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79" name="Rectangle 57"/>
            <p:cNvSpPr>
              <a:spLocks noChangeArrowheads="1"/>
            </p:cNvSpPr>
            <p:nvPr/>
          </p:nvSpPr>
          <p:spPr bwMode="auto">
            <a:xfrm>
              <a:off x="3008313" y="4157663"/>
              <a:ext cx="817563" cy="746125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80" name="Rectangle 58"/>
            <p:cNvSpPr>
              <a:spLocks noChangeArrowheads="1"/>
            </p:cNvSpPr>
            <p:nvPr/>
          </p:nvSpPr>
          <p:spPr bwMode="auto">
            <a:xfrm>
              <a:off x="3317258" y="4372659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22</a:t>
              </a:r>
              <a:endParaRPr kumimoji="0" lang="uk-UA" altLang="uk-UA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1" name="Rectangle 59"/>
            <p:cNvSpPr>
              <a:spLocks noChangeArrowheads="1"/>
            </p:cNvSpPr>
            <p:nvPr/>
          </p:nvSpPr>
          <p:spPr bwMode="auto">
            <a:xfrm>
              <a:off x="3008313" y="3057525"/>
              <a:ext cx="817563" cy="11001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82" name="Rectangle 60"/>
            <p:cNvSpPr>
              <a:spLocks noChangeArrowheads="1"/>
            </p:cNvSpPr>
            <p:nvPr/>
          </p:nvSpPr>
          <p:spPr bwMode="auto">
            <a:xfrm>
              <a:off x="3008313" y="3057525"/>
              <a:ext cx="817563" cy="110013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83" name="Rectangle 61"/>
            <p:cNvSpPr>
              <a:spLocks noChangeArrowheads="1"/>
            </p:cNvSpPr>
            <p:nvPr/>
          </p:nvSpPr>
          <p:spPr bwMode="auto">
            <a:xfrm>
              <a:off x="3338499" y="3511779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33</a:t>
              </a:r>
              <a:endParaRPr kumimoji="0" lang="uk-UA" altLang="uk-UA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4" name="Rectangle 62"/>
            <p:cNvSpPr>
              <a:spLocks noChangeArrowheads="1"/>
            </p:cNvSpPr>
            <p:nvPr/>
          </p:nvSpPr>
          <p:spPr bwMode="auto">
            <a:xfrm>
              <a:off x="3008313" y="1966913"/>
              <a:ext cx="817563" cy="109061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85" name="Rectangle 63"/>
            <p:cNvSpPr>
              <a:spLocks noChangeArrowheads="1"/>
            </p:cNvSpPr>
            <p:nvPr/>
          </p:nvSpPr>
          <p:spPr bwMode="auto">
            <a:xfrm>
              <a:off x="3008313" y="1966913"/>
              <a:ext cx="817563" cy="1090613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86" name="Rectangle 64"/>
            <p:cNvSpPr>
              <a:spLocks noChangeArrowheads="1"/>
            </p:cNvSpPr>
            <p:nvPr/>
          </p:nvSpPr>
          <p:spPr bwMode="auto">
            <a:xfrm>
              <a:off x="3338499" y="2365603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33</a:t>
              </a:r>
              <a:endParaRPr kumimoji="0" lang="uk-UA" altLang="uk-UA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7" name="Rectangle 65"/>
            <p:cNvSpPr>
              <a:spLocks noChangeArrowheads="1"/>
            </p:cNvSpPr>
            <p:nvPr/>
          </p:nvSpPr>
          <p:spPr bwMode="auto">
            <a:xfrm>
              <a:off x="3008313" y="1557338"/>
              <a:ext cx="817563" cy="4064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88" name="Rectangle 66"/>
            <p:cNvSpPr>
              <a:spLocks noChangeArrowheads="1"/>
            </p:cNvSpPr>
            <p:nvPr/>
          </p:nvSpPr>
          <p:spPr bwMode="auto">
            <a:xfrm>
              <a:off x="3008313" y="1557338"/>
              <a:ext cx="817563" cy="40640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89" name="Rectangle 67"/>
            <p:cNvSpPr>
              <a:spLocks noChangeArrowheads="1"/>
            </p:cNvSpPr>
            <p:nvPr/>
          </p:nvSpPr>
          <p:spPr bwMode="auto">
            <a:xfrm>
              <a:off x="3284370" y="1633430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12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0" name="Rectangle 68"/>
            <p:cNvSpPr>
              <a:spLocks noChangeArrowheads="1"/>
            </p:cNvSpPr>
            <p:nvPr/>
          </p:nvSpPr>
          <p:spPr bwMode="auto">
            <a:xfrm>
              <a:off x="5337176" y="4084638"/>
              <a:ext cx="817563" cy="81915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91" name="Rectangle 69"/>
            <p:cNvSpPr>
              <a:spLocks noChangeArrowheads="1"/>
            </p:cNvSpPr>
            <p:nvPr/>
          </p:nvSpPr>
          <p:spPr bwMode="auto">
            <a:xfrm>
              <a:off x="5337176" y="4084638"/>
              <a:ext cx="817563" cy="81915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92" name="Rectangle 70"/>
            <p:cNvSpPr>
              <a:spLocks noChangeArrowheads="1"/>
            </p:cNvSpPr>
            <p:nvPr/>
          </p:nvSpPr>
          <p:spPr bwMode="auto">
            <a:xfrm>
              <a:off x="5667376" y="4353804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24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3" name="Rectangle 71"/>
            <p:cNvSpPr>
              <a:spLocks noChangeArrowheads="1"/>
            </p:cNvSpPr>
            <p:nvPr/>
          </p:nvSpPr>
          <p:spPr bwMode="auto">
            <a:xfrm>
              <a:off x="5337176" y="3276600"/>
              <a:ext cx="817563" cy="8080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94" name="Rectangle 72"/>
            <p:cNvSpPr>
              <a:spLocks noChangeArrowheads="1"/>
            </p:cNvSpPr>
            <p:nvPr/>
          </p:nvSpPr>
          <p:spPr bwMode="auto">
            <a:xfrm>
              <a:off x="5337176" y="3276600"/>
              <a:ext cx="817563" cy="80803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95" name="Rectangle 73"/>
            <p:cNvSpPr>
              <a:spLocks noChangeArrowheads="1"/>
            </p:cNvSpPr>
            <p:nvPr/>
          </p:nvSpPr>
          <p:spPr bwMode="auto">
            <a:xfrm>
              <a:off x="5667376" y="3541004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24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6" name="Rectangle 74"/>
            <p:cNvSpPr>
              <a:spLocks noChangeArrowheads="1"/>
            </p:cNvSpPr>
            <p:nvPr/>
          </p:nvSpPr>
          <p:spPr bwMode="auto">
            <a:xfrm>
              <a:off x="5337176" y="2232025"/>
              <a:ext cx="817563" cy="10445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97" name="Rectangle 75"/>
            <p:cNvSpPr>
              <a:spLocks noChangeArrowheads="1"/>
            </p:cNvSpPr>
            <p:nvPr/>
          </p:nvSpPr>
          <p:spPr bwMode="auto">
            <a:xfrm>
              <a:off x="5337176" y="2232025"/>
              <a:ext cx="817563" cy="1044575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98" name="Rectangle 76"/>
            <p:cNvSpPr>
              <a:spLocks noChangeArrowheads="1"/>
            </p:cNvSpPr>
            <p:nvPr/>
          </p:nvSpPr>
          <p:spPr bwMode="auto">
            <a:xfrm>
              <a:off x="5667376" y="2667000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31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Rectangle 77"/>
            <p:cNvSpPr>
              <a:spLocks noChangeArrowheads="1"/>
            </p:cNvSpPr>
            <p:nvPr/>
          </p:nvSpPr>
          <p:spPr bwMode="auto">
            <a:xfrm>
              <a:off x="5337176" y="1557338"/>
              <a:ext cx="817563" cy="67468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00" name="Rectangle 78"/>
            <p:cNvSpPr>
              <a:spLocks noChangeArrowheads="1"/>
            </p:cNvSpPr>
            <p:nvPr/>
          </p:nvSpPr>
          <p:spPr bwMode="auto">
            <a:xfrm>
              <a:off x="5337176" y="1557338"/>
              <a:ext cx="817563" cy="67468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01" name="Rectangle 79"/>
            <p:cNvSpPr>
              <a:spLocks noChangeArrowheads="1"/>
            </p:cNvSpPr>
            <p:nvPr/>
          </p:nvSpPr>
          <p:spPr bwMode="auto">
            <a:xfrm>
              <a:off x="5610058" y="1769955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uk-UA" altLang="uk-UA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2" name="Rectangle 80"/>
            <p:cNvSpPr>
              <a:spLocks noChangeArrowheads="1"/>
            </p:cNvSpPr>
            <p:nvPr/>
          </p:nvSpPr>
          <p:spPr bwMode="auto">
            <a:xfrm>
              <a:off x="6237288" y="3884613"/>
              <a:ext cx="815975" cy="10191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03" name="Rectangle 81"/>
            <p:cNvSpPr>
              <a:spLocks noChangeArrowheads="1"/>
            </p:cNvSpPr>
            <p:nvPr/>
          </p:nvSpPr>
          <p:spPr bwMode="auto">
            <a:xfrm>
              <a:off x="6237288" y="3884613"/>
              <a:ext cx="815975" cy="1019175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04" name="Rectangle 82"/>
            <p:cNvSpPr>
              <a:spLocks noChangeArrowheads="1"/>
            </p:cNvSpPr>
            <p:nvPr/>
          </p:nvSpPr>
          <p:spPr bwMode="auto">
            <a:xfrm>
              <a:off x="6572251" y="4245854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30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5" name="Rectangle 83"/>
            <p:cNvSpPr>
              <a:spLocks noChangeArrowheads="1"/>
            </p:cNvSpPr>
            <p:nvPr/>
          </p:nvSpPr>
          <p:spPr bwMode="auto">
            <a:xfrm>
              <a:off x="6237288" y="3095625"/>
              <a:ext cx="815975" cy="7889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06" name="Rectangle 84"/>
            <p:cNvSpPr>
              <a:spLocks noChangeArrowheads="1"/>
            </p:cNvSpPr>
            <p:nvPr/>
          </p:nvSpPr>
          <p:spPr bwMode="auto">
            <a:xfrm>
              <a:off x="6237288" y="3095625"/>
              <a:ext cx="815975" cy="78898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07" name="Rectangle 85"/>
            <p:cNvSpPr>
              <a:spLocks noChangeArrowheads="1"/>
            </p:cNvSpPr>
            <p:nvPr/>
          </p:nvSpPr>
          <p:spPr bwMode="auto">
            <a:xfrm>
              <a:off x="6572251" y="3398838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24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8" name="Rectangle 86"/>
            <p:cNvSpPr>
              <a:spLocks noChangeArrowheads="1"/>
            </p:cNvSpPr>
            <p:nvPr/>
          </p:nvSpPr>
          <p:spPr bwMode="auto">
            <a:xfrm>
              <a:off x="6237288" y="2103438"/>
              <a:ext cx="815975" cy="99218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09" name="Rectangle 87"/>
            <p:cNvSpPr>
              <a:spLocks noChangeArrowheads="1"/>
            </p:cNvSpPr>
            <p:nvPr/>
          </p:nvSpPr>
          <p:spPr bwMode="auto">
            <a:xfrm>
              <a:off x="6237288" y="2103438"/>
              <a:ext cx="815975" cy="99218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10" name="Rectangle 88"/>
            <p:cNvSpPr>
              <a:spLocks noChangeArrowheads="1"/>
            </p:cNvSpPr>
            <p:nvPr/>
          </p:nvSpPr>
          <p:spPr bwMode="auto">
            <a:xfrm>
              <a:off x="6572251" y="2513013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30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1" name="Rectangle 89"/>
            <p:cNvSpPr>
              <a:spLocks noChangeArrowheads="1"/>
            </p:cNvSpPr>
            <p:nvPr/>
          </p:nvSpPr>
          <p:spPr bwMode="auto">
            <a:xfrm>
              <a:off x="6237288" y="1557338"/>
              <a:ext cx="815975" cy="5461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12" name="Rectangle 90"/>
            <p:cNvSpPr>
              <a:spLocks noChangeArrowheads="1"/>
            </p:cNvSpPr>
            <p:nvPr/>
          </p:nvSpPr>
          <p:spPr bwMode="auto">
            <a:xfrm>
              <a:off x="6237288" y="1557338"/>
              <a:ext cx="815975" cy="54610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13" name="Rectangle 91"/>
            <p:cNvSpPr>
              <a:spLocks noChangeArrowheads="1"/>
            </p:cNvSpPr>
            <p:nvPr/>
          </p:nvSpPr>
          <p:spPr bwMode="auto">
            <a:xfrm>
              <a:off x="6514933" y="1706455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16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" name="Rectangle 92"/>
            <p:cNvSpPr>
              <a:spLocks noChangeArrowheads="1"/>
            </p:cNvSpPr>
            <p:nvPr/>
          </p:nvSpPr>
          <p:spPr bwMode="auto">
            <a:xfrm>
              <a:off x="7137401" y="3678238"/>
              <a:ext cx="817563" cy="122555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15" name="Rectangle 93"/>
            <p:cNvSpPr>
              <a:spLocks noChangeArrowheads="1"/>
            </p:cNvSpPr>
            <p:nvPr/>
          </p:nvSpPr>
          <p:spPr bwMode="auto">
            <a:xfrm>
              <a:off x="7137401" y="3678238"/>
              <a:ext cx="817563" cy="122555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16" name="Rectangle 94"/>
            <p:cNvSpPr>
              <a:spLocks noChangeArrowheads="1"/>
            </p:cNvSpPr>
            <p:nvPr/>
          </p:nvSpPr>
          <p:spPr bwMode="auto">
            <a:xfrm>
              <a:off x="7467601" y="4147429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37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7" name="Rectangle 95"/>
            <p:cNvSpPr>
              <a:spLocks noChangeArrowheads="1"/>
            </p:cNvSpPr>
            <p:nvPr/>
          </p:nvSpPr>
          <p:spPr bwMode="auto">
            <a:xfrm>
              <a:off x="7137401" y="3003550"/>
              <a:ext cx="817563" cy="6746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18" name="Rectangle 96"/>
            <p:cNvSpPr>
              <a:spLocks noChangeArrowheads="1"/>
            </p:cNvSpPr>
            <p:nvPr/>
          </p:nvSpPr>
          <p:spPr bwMode="auto">
            <a:xfrm>
              <a:off x="7137401" y="3003550"/>
              <a:ext cx="817563" cy="67468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19" name="Rectangle 97"/>
            <p:cNvSpPr>
              <a:spLocks noChangeArrowheads="1"/>
            </p:cNvSpPr>
            <p:nvPr/>
          </p:nvSpPr>
          <p:spPr bwMode="auto">
            <a:xfrm>
              <a:off x="7467601" y="3254375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0" name="Rectangle 98"/>
            <p:cNvSpPr>
              <a:spLocks noChangeArrowheads="1"/>
            </p:cNvSpPr>
            <p:nvPr/>
          </p:nvSpPr>
          <p:spPr bwMode="auto">
            <a:xfrm>
              <a:off x="7137401" y="2035175"/>
              <a:ext cx="817563" cy="9683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21" name="Rectangle 99"/>
            <p:cNvSpPr>
              <a:spLocks noChangeArrowheads="1"/>
            </p:cNvSpPr>
            <p:nvPr/>
          </p:nvSpPr>
          <p:spPr bwMode="auto">
            <a:xfrm>
              <a:off x="7137401" y="2035175"/>
              <a:ext cx="817563" cy="968375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22" name="Rectangle 100"/>
            <p:cNvSpPr>
              <a:spLocks noChangeArrowheads="1"/>
            </p:cNvSpPr>
            <p:nvPr/>
          </p:nvSpPr>
          <p:spPr bwMode="auto">
            <a:xfrm>
              <a:off x="7467601" y="2430463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29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3" name="Rectangle 101"/>
            <p:cNvSpPr>
              <a:spLocks noChangeArrowheads="1"/>
            </p:cNvSpPr>
            <p:nvPr/>
          </p:nvSpPr>
          <p:spPr bwMode="auto">
            <a:xfrm>
              <a:off x="7137400" y="1566420"/>
              <a:ext cx="817563" cy="47783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24" name="Rectangle 102"/>
            <p:cNvSpPr>
              <a:spLocks noChangeArrowheads="1"/>
            </p:cNvSpPr>
            <p:nvPr/>
          </p:nvSpPr>
          <p:spPr bwMode="auto">
            <a:xfrm>
              <a:off x="7137401" y="1557338"/>
              <a:ext cx="817563" cy="47783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25" name="Rectangle 103"/>
            <p:cNvSpPr>
              <a:spLocks noChangeArrowheads="1"/>
            </p:cNvSpPr>
            <p:nvPr/>
          </p:nvSpPr>
          <p:spPr bwMode="auto">
            <a:xfrm>
              <a:off x="7419523" y="1678979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14</a:t>
              </a:r>
              <a:endParaRPr kumimoji="0" lang="uk-UA" altLang="uk-UA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6" name="Rectangle 104"/>
            <p:cNvSpPr>
              <a:spLocks noChangeArrowheads="1"/>
            </p:cNvSpPr>
            <p:nvPr/>
          </p:nvSpPr>
          <p:spPr bwMode="auto">
            <a:xfrm>
              <a:off x="8035926" y="3594100"/>
              <a:ext cx="817563" cy="130968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27" name="Rectangle 105"/>
            <p:cNvSpPr>
              <a:spLocks noChangeArrowheads="1"/>
            </p:cNvSpPr>
            <p:nvPr/>
          </p:nvSpPr>
          <p:spPr bwMode="auto">
            <a:xfrm>
              <a:off x="8035926" y="3594100"/>
              <a:ext cx="817563" cy="130968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28" name="Rectangle 106"/>
            <p:cNvSpPr>
              <a:spLocks noChangeArrowheads="1"/>
            </p:cNvSpPr>
            <p:nvPr/>
          </p:nvSpPr>
          <p:spPr bwMode="auto">
            <a:xfrm>
              <a:off x="8364538" y="4101392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39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9" name="Rectangle 107"/>
            <p:cNvSpPr>
              <a:spLocks noChangeArrowheads="1"/>
            </p:cNvSpPr>
            <p:nvPr/>
          </p:nvSpPr>
          <p:spPr bwMode="auto">
            <a:xfrm>
              <a:off x="8035926" y="2943225"/>
              <a:ext cx="817563" cy="654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30" name="Rectangle 108"/>
            <p:cNvSpPr>
              <a:spLocks noChangeArrowheads="1"/>
            </p:cNvSpPr>
            <p:nvPr/>
          </p:nvSpPr>
          <p:spPr bwMode="auto">
            <a:xfrm>
              <a:off x="8035926" y="2943225"/>
              <a:ext cx="817563" cy="65405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31" name="Rectangle 109"/>
            <p:cNvSpPr>
              <a:spLocks noChangeArrowheads="1"/>
            </p:cNvSpPr>
            <p:nvPr/>
          </p:nvSpPr>
          <p:spPr bwMode="auto">
            <a:xfrm>
              <a:off x="8364538" y="3125079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2" name="Rectangle 110"/>
            <p:cNvSpPr>
              <a:spLocks noChangeArrowheads="1"/>
            </p:cNvSpPr>
            <p:nvPr/>
          </p:nvSpPr>
          <p:spPr bwMode="auto">
            <a:xfrm>
              <a:off x="8035926" y="2024063"/>
              <a:ext cx="817563" cy="91916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33" name="Rectangle 111"/>
            <p:cNvSpPr>
              <a:spLocks noChangeArrowheads="1"/>
            </p:cNvSpPr>
            <p:nvPr/>
          </p:nvSpPr>
          <p:spPr bwMode="auto">
            <a:xfrm>
              <a:off x="8035926" y="2024063"/>
              <a:ext cx="817563" cy="919163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34" name="Rectangle 112"/>
            <p:cNvSpPr>
              <a:spLocks noChangeArrowheads="1"/>
            </p:cNvSpPr>
            <p:nvPr/>
          </p:nvSpPr>
          <p:spPr bwMode="auto">
            <a:xfrm>
              <a:off x="8364538" y="2339267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27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5" name="Rectangle 113"/>
            <p:cNvSpPr>
              <a:spLocks noChangeArrowheads="1"/>
            </p:cNvSpPr>
            <p:nvPr/>
          </p:nvSpPr>
          <p:spPr bwMode="auto">
            <a:xfrm>
              <a:off x="8035926" y="1557338"/>
              <a:ext cx="817563" cy="4667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36" name="Rectangle 114"/>
            <p:cNvSpPr>
              <a:spLocks noChangeArrowheads="1"/>
            </p:cNvSpPr>
            <p:nvPr/>
          </p:nvSpPr>
          <p:spPr bwMode="auto">
            <a:xfrm>
              <a:off x="8035926" y="1557338"/>
              <a:ext cx="817563" cy="466725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37" name="Rectangle 115"/>
            <p:cNvSpPr>
              <a:spLocks noChangeArrowheads="1"/>
            </p:cNvSpPr>
            <p:nvPr/>
          </p:nvSpPr>
          <p:spPr bwMode="auto">
            <a:xfrm>
              <a:off x="8363674" y="1651017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14</a:t>
              </a:r>
              <a:endParaRPr kumimoji="0" lang="uk-UA" altLang="uk-UA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8" name="Rectangle 116"/>
            <p:cNvSpPr>
              <a:spLocks noChangeArrowheads="1"/>
            </p:cNvSpPr>
            <p:nvPr/>
          </p:nvSpPr>
          <p:spPr bwMode="auto">
            <a:xfrm>
              <a:off x="4056063" y="2774950"/>
              <a:ext cx="1058863" cy="9128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pic>
          <p:nvPicPr>
            <p:cNvPr id="163957" name="Picture 117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6063" y="2774950"/>
              <a:ext cx="1050925" cy="911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0" name="Rectangle 119"/>
            <p:cNvSpPr>
              <a:spLocks noChangeArrowheads="1"/>
            </p:cNvSpPr>
            <p:nvPr/>
          </p:nvSpPr>
          <p:spPr bwMode="auto">
            <a:xfrm>
              <a:off x="4056063" y="2774950"/>
              <a:ext cx="1050925" cy="911225"/>
            </a:xfrm>
            <a:prstGeom prst="rect">
              <a:avLst/>
            </a:prstGeom>
            <a:noFill/>
            <a:ln w="3175" cap="flat">
              <a:solidFill>
                <a:srgbClr val="E0E0E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41" name="Rectangle 120"/>
            <p:cNvSpPr>
              <a:spLocks noChangeArrowheads="1"/>
            </p:cNvSpPr>
            <p:nvPr/>
          </p:nvSpPr>
          <p:spPr bwMode="auto">
            <a:xfrm>
              <a:off x="4110038" y="2838450"/>
              <a:ext cx="87313" cy="85725"/>
            </a:xfrm>
            <a:prstGeom prst="rect">
              <a:avLst/>
            </a:prstGeom>
            <a:solidFill>
              <a:srgbClr val="E95E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42" name="Rectangle 121"/>
            <p:cNvSpPr>
              <a:spLocks noChangeArrowheads="1"/>
            </p:cNvSpPr>
            <p:nvPr/>
          </p:nvSpPr>
          <p:spPr bwMode="auto">
            <a:xfrm>
              <a:off x="4110038" y="2838450"/>
              <a:ext cx="87313" cy="85725"/>
            </a:xfrm>
            <a:prstGeom prst="rect">
              <a:avLst/>
            </a:prstGeom>
            <a:noFill/>
            <a:ln w="3175" cap="flat">
              <a:solidFill>
                <a:srgbClr val="B0A79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43" name="Rectangle 122"/>
            <p:cNvSpPr>
              <a:spLocks noChangeArrowheads="1"/>
            </p:cNvSpPr>
            <p:nvPr/>
          </p:nvSpPr>
          <p:spPr bwMode="auto">
            <a:xfrm>
              <a:off x="4254501" y="2820988"/>
              <a:ext cx="506413" cy="12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7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Consumer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4" name="Rectangle 123"/>
            <p:cNvSpPr>
              <a:spLocks noChangeArrowheads="1"/>
            </p:cNvSpPr>
            <p:nvPr/>
          </p:nvSpPr>
          <p:spPr bwMode="auto">
            <a:xfrm>
              <a:off x="4254501" y="2928938"/>
              <a:ext cx="533400" cy="12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7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Electronics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5" name="Rectangle 124"/>
            <p:cNvSpPr>
              <a:spLocks noChangeArrowheads="1"/>
            </p:cNvSpPr>
            <p:nvPr/>
          </p:nvSpPr>
          <p:spPr bwMode="auto">
            <a:xfrm>
              <a:off x="4110038" y="3106738"/>
              <a:ext cx="87313" cy="85725"/>
            </a:xfrm>
            <a:prstGeom prst="rect">
              <a:avLst/>
            </a:prstGeom>
            <a:solidFill>
              <a:srgbClr val="F9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46" name="Rectangle 125"/>
            <p:cNvSpPr>
              <a:spLocks noChangeArrowheads="1"/>
            </p:cNvSpPr>
            <p:nvPr/>
          </p:nvSpPr>
          <p:spPr bwMode="auto">
            <a:xfrm>
              <a:off x="4110038" y="3106738"/>
              <a:ext cx="87313" cy="85725"/>
            </a:xfrm>
            <a:prstGeom prst="rect">
              <a:avLst/>
            </a:prstGeom>
            <a:noFill/>
            <a:ln w="3175" cap="flat">
              <a:solidFill>
                <a:srgbClr val="B0A79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47" name="Rectangle 126"/>
            <p:cNvSpPr>
              <a:spLocks noChangeArrowheads="1"/>
            </p:cNvSpPr>
            <p:nvPr/>
          </p:nvSpPr>
          <p:spPr bwMode="auto">
            <a:xfrm>
              <a:off x="4254501" y="3092450"/>
              <a:ext cx="931863" cy="12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7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Domestic Appliance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8" name="Rectangle 127"/>
            <p:cNvSpPr>
              <a:spLocks noChangeArrowheads="1"/>
            </p:cNvSpPr>
            <p:nvPr/>
          </p:nvSpPr>
          <p:spPr bwMode="auto">
            <a:xfrm>
              <a:off x="4110038" y="3265488"/>
              <a:ext cx="87313" cy="87313"/>
            </a:xfrm>
            <a:prstGeom prst="rect">
              <a:avLst/>
            </a:prstGeom>
            <a:solidFill>
              <a:srgbClr val="0041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49" name="Rectangle 128"/>
            <p:cNvSpPr>
              <a:spLocks noChangeArrowheads="1"/>
            </p:cNvSpPr>
            <p:nvPr/>
          </p:nvSpPr>
          <p:spPr bwMode="auto">
            <a:xfrm>
              <a:off x="4110038" y="3265488"/>
              <a:ext cx="87313" cy="87313"/>
            </a:xfrm>
            <a:prstGeom prst="rect">
              <a:avLst/>
            </a:prstGeom>
            <a:noFill/>
            <a:ln w="3175" cap="flat">
              <a:solidFill>
                <a:srgbClr val="B0A79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50" name="Rectangle 129"/>
            <p:cNvSpPr>
              <a:spLocks noChangeArrowheads="1"/>
            </p:cNvSpPr>
            <p:nvPr/>
          </p:nvSpPr>
          <p:spPr bwMode="auto">
            <a:xfrm>
              <a:off x="4254501" y="3254375"/>
              <a:ext cx="552450" cy="12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7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Information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1" name="Rectangle 130"/>
            <p:cNvSpPr>
              <a:spLocks noChangeArrowheads="1"/>
            </p:cNvSpPr>
            <p:nvPr/>
          </p:nvSpPr>
          <p:spPr bwMode="auto">
            <a:xfrm>
              <a:off x="4254501" y="3362325"/>
              <a:ext cx="560388" cy="12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7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Technology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2" name="Rectangle 131"/>
            <p:cNvSpPr>
              <a:spLocks noChangeArrowheads="1"/>
            </p:cNvSpPr>
            <p:nvPr/>
          </p:nvSpPr>
          <p:spPr bwMode="auto">
            <a:xfrm>
              <a:off x="4110038" y="3533775"/>
              <a:ext cx="87313" cy="87313"/>
            </a:xfrm>
            <a:prstGeom prst="rect">
              <a:avLst/>
            </a:prstGeom>
            <a:solidFill>
              <a:srgbClr val="45C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53" name="Rectangle 132"/>
            <p:cNvSpPr>
              <a:spLocks noChangeArrowheads="1"/>
            </p:cNvSpPr>
            <p:nvPr/>
          </p:nvSpPr>
          <p:spPr bwMode="auto">
            <a:xfrm>
              <a:off x="4110038" y="3533775"/>
              <a:ext cx="87313" cy="87313"/>
            </a:xfrm>
            <a:prstGeom prst="rect">
              <a:avLst/>
            </a:prstGeom>
            <a:noFill/>
            <a:ln w="3175" cap="flat">
              <a:solidFill>
                <a:srgbClr val="B0A79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54" name="Rectangle 133"/>
            <p:cNvSpPr>
              <a:spLocks noChangeArrowheads="1"/>
            </p:cNvSpPr>
            <p:nvPr/>
          </p:nvSpPr>
          <p:spPr bwMode="auto">
            <a:xfrm>
              <a:off x="4254501" y="3516313"/>
              <a:ext cx="425450" cy="12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7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Telecom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7" name="Rectangle 156"/>
            <p:cNvSpPr/>
            <p:nvPr/>
          </p:nvSpPr>
          <p:spPr bwMode="gray">
            <a:xfrm>
              <a:off x="3834532" y="1265239"/>
              <a:ext cx="1407465" cy="366871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uk-UA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9" name="Rectangle 158"/>
            <p:cNvSpPr/>
            <p:nvPr/>
          </p:nvSpPr>
          <p:spPr bwMode="gray">
            <a:xfrm rot="16200000">
              <a:off x="4271112" y="-3362490"/>
              <a:ext cx="567547" cy="896322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uk-UA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0" name="Freeform 30"/>
            <p:cNvSpPr>
              <a:spLocks noChangeAspect="1"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4279018" y="1548703"/>
              <a:ext cx="554482" cy="563369"/>
            </a:xfrm>
            <a:custGeom>
              <a:avLst/>
              <a:gdLst>
                <a:gd name="T0" fmla="*/ 2147483647 w 2080"/>
                <a:gd name="T1" fmla="*/ 2147483647 h 2113"/>
                <a:gd name="T2" fmla="*/ 2147483647 w 2080"/>
                <a:gd name="T3" fmla="*/ 2147483647 h 2113"/>
                <a:gd name="T4" fmla="*/ 2147483647 w 2080"/>
                <a:gd name="T5" fmla="*/ 2147483647 h 2113"/>
                <a:gd name="T6" fmla="*/ 2147483647 w 2080"/>
                <a:gd name="T7" fmla="*/ 2147483647 h 2113"/>
                <a:gd name="T8" fmla="*/ 2147483647 w 2080"/>
                <a:gd name="T9" fmla="*/ 0 h 2113"/>
                <a:gd name="T10" fmla="*/ 2147483647 w 2080"/>
                <a:gd name="T11" fmla="*/ 2147483647 h 2113"/>
                <a:gd name="T12" fmla="*/ 2147483647 w 2080"/>
                <a:gd name="T13" fmla="*/ 2147483647 h 2113"/>
                <a:gd name="T14" fmla="*/ 2147483647 w 2080"/>
                <a:gd name="T15" fmla="*/ 2147483647 h 2113"/>
                <a:gd name="T16" fmla="*/ 2147483647 w 2080"/>
                <a:gd name="T17" fmla="*/ 2147483647 h 2113"/>
                <a:gd name="T18" fmla="*/ 2147483647 w 2080"/>
                <a:gd name="T19" fmla="*/ 2147483647 h 2113"/>
                <a:gd name="T20" fmla="*/ 2147483647 w 2080"/>
                <a:gd name="T21" fmla="*/ 2147483647 h 2113"/>
                <a:gd name="T22" fmla="*/ 0 w 2080"/>
                <a:gd name="T23" fmla="*/ 2147483647 h 2113"/>
                <a:gd name="T24" fmla="*/ 2147483647 w 2080"/>
                <a:gd name="T25" fmla="*/ 2147483647 h 2113"/>
                <a:gd name="T26" fmla="*/ 2147483647 w 2080"/>
                <a:gd name="T27" fmla="*/ 2147483647 h 2113"/>
                <a:gd name="T28" fmla="*/ 2147483647 w 2080"/>
                <a:gd name="T29" fmla="*/ 2147483647 h 2113"/>
                <a:gd name="T30" fmla="*/ 2147483647 w 2080"/>
                <a:gd name="T31" fmla="*/ 2147483647 h 2113"/>
                <a:gd name="T32" fmla="*/ 2147483647 w 2080"/>
                <a:gd name="T33" fmla="*/ 2147483647 h 2113"/>
                <a:gd name="T34" fmla="*/ 2147483647 w 2080"/>
                <a:gd name="T35" fmla="*/ 2147483647 h 2113"/>
                <a:gd name="T36" fmla="*/ 2147483647 w 2080"/>
                <a:gd name="T37" fmla="*/ 2147483647 h 2113"/>
                <a:gd name="T38" fmla="*/ 2147483647 w 2080"/>
                <a:gd name="T39" fmla="*/ 2147483647 h 2113"/>
                <a:gd name="T40" fmla="*/ 2147483647 w 2080"/>
                <a:gd name="T41" fmla="*/ 2147483647 h 2113"/>
                <a:gd name="T42" fmla="*/ 2147483647 w 2080"/>
                <a:gd name="T43" fmla="*/ 2147483647 h 2113"/>
                <a:gd name="T44" fmla="*/ 2147483647 w 2080"/>
                <a:gd name="T45" fmla="*/ 2147483647 h 2113"/>
                <a:gd name="T46" fmla="*/ 2147483647 w 2080"/>
                <a:gd name="T47" fmla="*/ 2147483647 h 2113"/>
                <a:gd name="T48" fmla="*/ 2147483647 w 2080"/>
                <a:gd name="T49" fmla="*/ 2147483647 h 2113"/>
                <a:gd name="T50" fmla="*/ 2147483647 w 2080"/>
                <a:gd name="T51" fmla="*/ 2147483647 h 2113"/>
                <a:gd name="T52" fmla="*/ 2147483647 w 2080"/>
                <a:gd name="T53" fmla="*/ 2147483647 h 2113"/>
                <a:gd name="T54" fmla="*/ 2147483647 w 2080"/>
                <a:gd name="T55" fmla="*/ 2147483647 h 2113"/>
                <a:gd name="T56" fmla="*/ 2147483647 w 2080"/>
                <a:gd name="T57" fmla="*/ 2147483647 h 2113"/>
                <a:gd name="T58" fmla="*/ 2147483647 w 2080"/>
                <a:gd name="T59" fmla="*/ 2147483647 h 2113"/>
                <a:gd name="T60" fmla="*/ 2147483647 w 2080"/>
                <a:gd name="T61" fmla="*/ 2147483647 h 2113"/>
                <a:gd name="T62" fmla="*/ 2147483647 w 2080"/>
                <a:gd name="T63" fmla="*/ 2147483647 h 2113"/>
                <a:gd name="T64" fmla="*/ 2147483647 w 2080"/>
                <a:gd name="T65" fmla="*/ 2147483647 h 211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080" h="2113">
                  <a:moveTo>
                    <a:pt x="1760" y="1633"/>
                  </a:moveTo>
                  <a:cubicBezTo>
                    <a:pt x="1716" y="1633"/>
                    <a:pt x="1680" y="1669"/>
                    <a:pt x="1680" y="1713"/>
                  </a:cubicBezTo>
                  <a:cubicBezTo>
                    <a:pt x="1680" y="1757"/>
                    <a:pt x="1716" y="1793"/>
                    <a:pt x="1760" y="1793"/>
                  </a:cubicBezTo>
                  <a:cubicBezTo>
                    <a:pt x="1804" y="1793"/>
                    <a:pt x="1840" y="1757"/>
                    <a:pt x="1840" y="1713"/>
                  </a:cubicBezTo>
                  <a:cubicBezTo>
                    <a:pt x="1840" y="1669"/>
                    <a:pt x="1804" y="1633"/>
                    <a:pt x="1760" y="1633"/>
                  </a:cubicBezTo>
                  <a:close/>
                  <a:moveTo>
                    <a:pt x="388" y="5"/>
                  </a:moveTo>
                  <a:cubicBezTo>
                    <a:pt x="810" y="426"/>
                    <a:pt x="810" y="426"/>
                    <a:pt x="810" y="426"/>
                  </a:cubicBezTo>
                  <a:cubicBezTo>
                    <a:pt x="841" y="405"/>
                    <a:pt x="879" y="393"/>
                    <a:pt x="920" y="393"/>
                  </a:cubicBezTo>
                  <a:cubicBezTo>
                    <a:pt x="975" y="393"/>
                    <a:pt x="1025" y="415"/>
                    <a:pt x="1061" y="451"/>
                  </a:cubicBezTo>
                  <a:cubicBezTo>
                    <a:pt x="1738" y="0"/>
                    <a:pt x="1738" y="0"/>
                    <a:pt x="1738" y="0"/>
                  </a:cubicBezTo>
                  <a:cubicBezTo>
                    <a:pt x="1782" y="66"/>
                    <a:pt x="1782" y="66"/>
                    <a:pt x="1782" y="66"/>
                  </a:cubicBezTo>
                  <a:cubicBezTo>
                    <a:pt x="1105" y="517"/>
                    <a:pt x="1105" y="517"/>
                    <a:pt x="1105" y="517"/>
                  </a:cubicBezTo>
                  <a:cubicBezTo>
                    <a:pt x="1110" y="529"/>
                    <a:pt x="1114" y="541"/>
                    <a:pt x="1116" y="553"/>
                  </a:cubicBezTo>
                  <a:cubicBezTo>
                    <a:pt x="2080" y="553"/>
                    <a:pt x="2080" y="553"/>
                    <a:pt x="2080" y="553"/>
                  </a:cubicBezTo>
                  <a:cubicBezTo>
                    <a:pt x="2080" y="2033"/>
                    <a:pt x="2080" y="2033"/>
                    <a:pt x="2080" y="2033"/>
                  </a:cubicBezTo>
                  <a:cubicBezTo>
                    <a:pt x="1920" y="2033"/>
                    <a:pt x="1920" y="2033"/>
                    <a:pt x="1920" y="2033"/>
                  </a:cubicBezTo>
                  <a:cubicBezTo>
                    <a:pt x="1920" y="2113"/>
                    <a:pt x="1920" y="2113"/>
                    <a:pt x="1920" y="2113"/>
                  </a:cubicBezTo>
                  <a:cubicBezTo>
                    <a:pt x="1813" y="2113"/>
                    <a:pt x="1707" y="2113"/>
                    <a:pt x="1600" y="2113"/>
                  </a:cubicBezTo>
                  <a:cubicBezTo>
                    <a:pt x="1600" y="2033"/>
                    <a:pt x="1600" y="2033"/>
                    <a:pt x="1600" y="2033"/>
                  </a:cubicBezTo>
                  <a:cubicBezTo>
                    <a:pt x="480" y="2033"/>
                    <a:pt x="480" y="2033"/>
                    <a:pt x="480" y="2033"/>
                  </a:cubicBezTo>
                  <a:cubicBezTo>
                    <a:pt x="480" y="2113"/>
                    <a:pt x="480" y="2113"/>
                    <a:pt x="480" y="2113"/>
                  </a:cubicBezTo>
                  <a:cubicBezTo>
                    <a:pt x="160" y="2113"/>
                    <a:pt x="160" y="2113"/>
                    <a:pt x="160" y="2113"/>
                  </a:cubicBezTo>
                  <a:cubicBezTo>
                    <a:pt x="160" y="2033"/>
                    <a:pt x="160" y="2033"/>
                    <a:pt x="160" y="2033"/>
                  </a:cubicBezTo>
                  <a:cubicBezTo>
                    <a:pt x="0" y="2033"/>
                    <a:pt x="0" y="2033"/>
                    <a:pt x="0" y="2033"/>
                  </a:cubicBezTo>
                  <a:cubicBezTo>
                    <a:pt x="0" y="553"/>
                    <a:pt x="0" y="553"/>
                    <a:pt x="0" y="553"/>
                  </a:cubicBezTo>
                  <a:cubicBezTo>
                    <a:pt x="724" y="553"/>
                    <a:pt x="724" y="553"/>
                    <a:pt x="724" y="553"/>
                  </a:cubicBezTo>
                  <a:cubicBezTo>
                    <a:pt x="729" y="527"/>
                    <a:pt x="739" y="504"/>
                    <a:pt x="753" y="483"/>
                  </a:cubicBezTo>
                  <a:cubicBezTo>
                    <a:pt x="332" y="61"/>
                    <a:pt x="332" y="61"/>
                    <a:pt x="332" y="61"/>
                  </a:cubicBezTo>
                  <a:lnTo>
                    <a:pt x="388" y="5"/>
                  </a:lnTo>
                  <a:close/>
                  <a:moveTo>
                    <a:pt x="1760" y="1393"/>
                  </a:moveTo>
                  <a:cubicBezTo>
                    <a:pt x="1716" y="1393"/>
                    <a:pt x="1680" y="1429"/>
                    <a:pt x="1680" y="1473"/>
                  </a:cubicBezTo>
                  <a:cubicBezTo>
                    <a:pt x="1680" y="1517"/>
                    <a:pt x="1716" y="1553"/>
                    <a:pt x="1760" y="1553"/>
                  </a:cubicBezTo>
                  <a:cubicBezTo>
                    <a:pt x="1804" y="1553"/>
                    <a:pt x="1840" y="1517"/>
                    <a:pt x="1840" y="1473"/>
                  </a:cubicBezTo>
                  <a:cubicBezTo>
                    <a:pt x="1840" y="1429"/>
                    <a:pt x="1804" y="1393"/>
                    <a:pt x="1760" y="1393"/>
                  </a:cubicBezTo>
                  <a:close/>
                  <a:moveTo>
                    <a:pt x="1600" y="1153"/>
                  </a:moveTo>
                  <a:cubicBezTo>
                    <a:pt x="1600" y="1233"/>
                    <a:pt x="1600" y="1233"/>
                    <a:pt x="1600" y="1233"/>
                  </a:cubicBezTo>
                  <a:cubicBezTo>
                    <a:pt x="1920" y="1233"/>
                    <a:pt x="1920" y="1233"/>
                    <a:pt x="1920" y="1233"/>
                  </a:cubicBezTo>
                  <a:cubicBezTo>
                    <a:pt x="1920" y="1153"/>
                    <a:pt x="1920" y="1153"/>
                    <a:pt x="1920" y="1153"/>
                  </a:cubicBezTo>
                  <a:lnTo>
                    <a:pt x="1600" y="1153"/>
                  </a:lnTo>
                  <a:close/>
                  <a:moveTo>
                    <a:pt x="1600" y="993"/>
                  </a:moveTo>
                  <a:cubicBezTo>
                    <a:pt x="1600" y="1073"/>
                    <a:pt x="1600" y="1073"/>
                    <a:pt x="1600" y="1073"/>
                  </a:cubicBezTo>
                  <a:cubicBezTo>
                    <a:pt x="1920" y="1073"/>
                    <a:pt x="1920" y="1073"/>
                    <a:pt x="1920" y="1073"/>
                  </a:cubicBezTo>
                  <a:cubicBezTo>
                    <a:pt x="1920" y="993"/>
                    <a:pt x="1920" y="993"/>
                    <a:pt x="1920" y="993"/>
                  </a:cubicBezTo>
                  <a:lnTo>
                    <a:pt x="1600" y="993"/>
                  </a:lnTo>
                  <a:close/>
                  <a:moveTo>
                    <a:pt x="1600" y="833"/>
                  </a:moveTo>
                  <a:cubicBezTo>
                    <a:pt x="1600" y="913"/>
                    <a:pt x="1600" y="913"/>
                    <a:pt x="1600" y="913"/>
                  </a:cubicBezTo>
                  <a:cubicBezTo>
                    <a:pt x="1920" y="913"/>
                    <a:pt x="1920" y="913"/>
                    <a:pt x="1920" y="913"/>
                  </a:cubicBezTo>
                  <a:cubicBezTo>
                    <a:pt x="1920" y="833"/>
                    <a:pt x="1920" y="833"/>
                    <a:pt x="1920" y="833"/>
                  </a:cubicBezTo>
                  <a:lnTo>
                    <a:pt x="1600" y="833"/>
                  </a:lnTo>
                  <a:close/>
                  <a:moveTo>
                    <a:pt x="400" y="713"/>
                  </a:moveTo>
                  <a:cubicBezTo>
                    <a:pt x="268" y="713"/>
                    <a:pt x="160" y="821"/>
                    <a:pt x="160" y="953"/>
                  </a:cubicBezTo>
                  <a:cubicBezTo>
                    <a:pt x="160" y="1633"/>
                    <a:pt x="160" y="1633"/>
                    <a:pt x="160" y="1633"/>
                  </a:cubicBezTo>
                  <a:cubicBezTo>
                    <a:pt x="160" y="1765"/>
                    <a:pt x="268" y="1873"/>
                    <a:pt x="400" y="1873"/>
                  </a:cubicBezTo>
                  <a:cubicBezTo>
                    <a:pt x="1280" y="1873"/>
                    <a:pt x="1280" y="1873"/>
                    <a:pt x="1280" y="1873"/>
                  </a:cubicBezTo>
                  <a:cubicBezTo>
                    <a:pt x="1412" y="1873"/>
                    <a:pt x="1520" y="1765"/>
                    <a:pt x="1520" y="1633"/>
                  </a:cubicBezTo>
                  <a:cubicBezTo>
                    <a:pt x="1520" y="953"/>
                    <a:pt x="1520" y="953"/>
                    <a:pt x="1520" y="953"/>
                  </a:cubicBezTo>
                  <a:cubicBezTo>
                    <a:pt x="1520" y="821"/>
                    <a:pt x="1412" y="713"/>
                    <a:pt x="1280" y="713"/>
                  </a:cubicBezTo>
                  <a:lnTo>
                    <a:pt x="400" y="713"/>
                  </a:lnTo>
                  <a:close/>
                  <a:moveTo>
                    <a:pt x="1280" y="793"/>
                  </a:moveTo>
                  <a:cubicBezTo>
                    <a:pt x="1368" y="793"/>
                    <a:pt x="1440" y="865"/>
                    <a:pt x="1440" y="953"/>
                  </a:cubicBezTo>
                  <a:cubicBezTo>
                    <a:pt x="1440" y="1633"/>
                    <a:pt x="1440" y="1633"/>
                    <a:pt x="1440" y="1633"/>
                  </a:cubicBezTo>
                  <a:cubicBezTo>
                    <a:pt x="1440" y="1721"/>
                    <a:pt x="1368" y="1793"/>
                    <a:pt x="1280" y="1793"/>
                  </a:cubicBezTo>
                  <a:cubicBezTo>
                    <a:pt x="400" y="1793"/>
                    <a:pt x="400" y="1793"/>
                    <a:pt x="400" y="1793"/>
                  </a:cubicBezTo>
                  <a:cubicBezTo>
                    <a:pt x="312" y="1793"/>
                    <a:pt x="240" y="1721"/>
                    <a:pt x="240" y="1633"/>
                  </a:cubicBezTo>
                  <a:cubicBezTo>
                    <a:pt x="240" y="953"/>
                    <a:pt x="240" y="953"/>
                    <a:pt x="240" y="953"/>
                  </a:cubicBezTo>
                  <a:cubicBezTo>
                    <a:pt x="240" y="865"/>
                    <a:pt x="312" y="793"/>
                    <a:pt x="400" y="793"/>
                  </a:cubicBezTo>
                  <a:lnTo>
                    <a:pt x="1280" y="79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lIns="91384" tIns="45692" rIns="91384" bIns="45692"/>
            <a:lstStyle/>
            <a:p>
              <a:endParaRPr lang="en-US"/>
            </a:p>
          </p:txBody>
        </p:sp>
        <p:sp>
          <p:nvSpPr>
            <p:cNvPr id="161" name="Freeform 112"/>
            <p:cNvSpPr>
              <a:spLocks noChangeAspect="1"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4131764" y="2320376"/>
              <a:ext cx="397943" cy="544793"/>
            </a:xfrm>
            <a:custGeom>
              <a:avLst/>
              <a:gdLst>
                <a:gd name="T0" fmla="*/ 2147483647 w 1520"/>
                <a:gd name="T1" fmla="*/ 2147483647 h 2080"/>
                <a:gd name="T2" fmla="*/ 2147483647 w 1520"/>
                <a:gd name="T3" fmla="*/ 2147483647 h 2080"/>
                <a:gd name="T4" fmla="*/ 2147483647 w 1520"/>
                <a:gd name="T5" fmla="*/ 2147483647 h 2080"/>
                <a:gd name="T6" fmla="*/ 2147483647 w 1520"/>
                <a:gd name="T7" fmla="*/ 2147483647 h 2080"/>
                <a:gd name="T8" fmla="*/ 2147483647 w 1520"/>
                <a:gd name="T9" fmla="*/ 2147483647 h 2080"/>
                <a:gd name="T10" fmla="*/ 2147483647 w 1520"/>
                <a:gd name="T11" fmla="*/ 0 h 2080"/>
                <a:gd name="T12" fmla="*/ 2147483647 w 1520"/>
                <a:gd name="T13" fmla="*/ 0 h 2080"/>
                <a:gd name="T14" fmla="*/ 2147483647 w 1520"/>
                <a:gd name="T15" fmla="*/ 2147483647 h 2080"/>
                <a:gd name="T16" fmla="*/ 2147483647 w 1520"/>
                <a:gd name="T17" fmla="*/ 2147483647 h 2080"/>
                <a:gd name="T18" fmla="*/ 2147483647 w 1520"/>
                <a:gd name="T19" fmla="*/ 0 h 2080"/>
                <a:gd name="T20" fmla="*/ 2147483647 w 1520"/>
                <a:gd name="T21" fmla="*/ 0 h 2080"/>
                <a:gd name="T22" fmla="*/ 0 w 1520"/>
                <a:gd name="T23" fmla="*/ 0 h 2080"/>
                <a:gd name="T24" fmla="*/ 0 w 1520"/>
                <a:gd name="T25" fmla="*/ 2147483647 h 2080"/>
                <a:gd name="T26" fmla="*/ 2147483647 w 1520"/>
                <a:gd name="T27" fmla="*/ 2147483647 h 2080"/>
                <a:gd name="T28" fmla="*/ 2147483647 w 1520"/>
                <a:gd name="T29" fmla="*/ 0 h 2080"/>
                <a:gd name="T30" fmla="*/ 0 w 1520"/>
                <a:gd name="T31" fmla="*/ 2147483647 h 2080"/>
                <a:gd name="T32" fmla="*/ 0 w 1520"/>
                <a:gd name="T33" fmla="*/ 2147483647 h 2080"/>
                <a:gd name="T34" fmla="*/ 2147483647 w 1520"/>
                <a:gd name="T35" fmla="*/ 2147483647 h 2080"/>
                <a:gd name="T36" fmla="*/ 2147483647 w 1520"/>
                <a:gd name="T37" fmla="*/ 2147483647 h 2080"/>
                <a:gd name="T38" fmla="*/ 0 w 1520"/>
                <a:gd name="T39" fmla="*/ 2147483647 h 2080"/>
                <a:gd name="T40" fmla="*/ 2147483647 w 1520"/>
                <a:gd name="T41" fmla="*/ 2147483647 h 2080"/>
                <a:gd name="T42" fmla="*/ 2147483647 w 1520"/>
                <a:gd name="T43" fmla="*/ 2147483647 h 2080"/>
                <a:gd name="T44" fmla="*/ 2147483647 w 1520"/>
                <a:gd name="T45" fmla="*/ 2147483647 h 2080"/>
                <a:gd name="T46" fmla="*/ 2147483647 w 1520"/>
                <a:gd name="T47" fmla="*/ 2147483647 h 2080"/>
                <a:gd name="T48" fmla="*/ 2147483647 w 1520"/>
                <a:gd name="T49" fmla="*/ 2147483647 h 2080"/>
                <a:gd name="T50" fmla="*/ 2147483647 w 1520"/>
                <a:gd name="T51" fmla="*/ 2147483647 h 2080"/>
                <a:gd name="T52" fmla="*/ 2147483647 w 1520"/>
                <a:gd name="T53" fmla="*/ 2147483647 h 2080"/>
                <a:gd name="T54" fmla="*/ 2147483647 w 1520"/>
                <a:gd name="T55" fmla="*/ 2147483647 h 2080"/>
                <a:gd name="T56" fmla="*/ 2147483647 w 1520"/>
                <a:gd name="T57" fmla="*/ 2147483647 h 2080"/>
                <a:gd name="T58" fmla="*/ 2147483647 w 1520"/>
                <a:gd name="T59" fmla="*/ 2147483647 h 2080"/>
                <a:gd name="T60" fmla="*/ 2147483647 w 1520"/>
                <a:gd name="T61" fmla="*/ 2147483647 h 2080"/>
                <a:gd name="T62" fmla="*/ 2147483647 w 1520"/>
                <a:gd name="T63" fmla="*/ 2147483647 h 2080"/>
                <a:gd name="T64" fmla="*/ 2147483647 w 1520"/>
                <a:gd name="T65" fmla="*/ 2147483647 h 2080"/>
                <a:gd name="T66" fmla="*/ 2147483647 w 1520"/>
                <a:gd name="T67" fmla="*/ 2147483647 h 2080"/>
                <a:gd name="T68" fmla="*/ 2147483647 w 1520"/>
                <a:gd name="T69" fmla="*/ 2147483647 h 2080"/>
                <a:gd name="T70" fmla="*/ 2147483647 w 1520"/>
                <a:gd name="T71" fmla="*/ 2147483647 h 2080"/>
                <a:gd name="T72" fmla="*/ 2147483647 w 1520"/>
                <a:gd name="T73" fmla="*/ 2147483647 h 2080"/>
                <a:gd name="T74" fmla="*/ 2147483647 w 1520"/>
                <a:gd name="T75" fmla="*/ 2147483647 h 2080"/>
                <a:gd name="T76" fmla="*/ 2147483647 w 1520"/>
                <a:gd name="T77" fmla="*/ 2147483647 h 2080"/>
                <a:gd name="T78" fmla="*/ 2147483647 w 1520"/>
                <a:gd name="T79" fmla="*/ 2147483647 h 2080"/>
                <a:gd name="T80" fmla="*/ 2147483647 w 1520"/>
                <a:gd name="T81" fmla="*/ 2147483647 h 2080"/>
                <a:gd name="T82" fmla="*/ 2147483647 w 1520"/>
                <a:gd name="T83" fmla="*/ 2147483647 h 2080"/>
                <a:gd name="T84" fmla="*/ 2147483647 w 1520"/>
                <a:gd name="T85" fmla="*/ 2147483647 h 2080"/>
                <a:gd name="T86" fmla="*/ 2147483647 w 1520"/>
                <a:gd name="T87" fmla="*/ 2147483647 h 2080"/>
                <a:gd name="T88" fmla="*/ 2147483647 w 1520"/>
                <a:gd name="T89" fmla="*/ 2147483647 h 208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520" h="2080">
                  <a:moveTo>
                    <a:pt x="1080" y="140"/>
                  </a:moveTo>
                  <a:cubicBezTo>
                    <a:pt x="1124" y="140"/>
                    <a:pt x="1160" y="176"/>
                    <a:pt x="1160" y="220"/>
                  </a:cubicBezTo>
                  <a:cubicBezTo>
                    <a:pt x="1160" y="264"/>
                    <a:pt x="1124" y="300"/>
                    <a:pt x="1080" y="300"/>
                  </a:cubicBezTo>
                  <a:cubicBezTo>
                    <a:pt x="1036" y="300"/>
                    <a:pt x="1000" y="264"/>
                    <a:pt x="1000" y="220"/>
                  </a:cubicBezTo>
                  <a:cubicBezTo>
                    <a:pt x="1000" y="176"/>
                    <a:pt x="1036" y="140"/>
                    <a:pt x="1080" y="140"/>
                  </a:cubicBezTo>
                  <a:close/>
                  <a:moveTo>
                    <a:pt x="1520" y="0"/>
                  </a:moveTo>
                  <a:cubicBezTo>
                    <a:pt x="520" y="0"/>
                    <a:pt x="520" y="0"/>
                    <a:pt x="520" y="0"/>
                  </a:cubicBezTo>
                  <a:cubicBezTo>
                    <a:pt x="520" y="360"/>
                    <a:pt x="520" y="360"/>
                    <a:pt x="520" y="360"/>
                  </a:cubicBezTo>
                  <a:cubicBezTo>
                    <a:pt x="1520" y="360"/>
                    <a:pt x="1520" y="360"/>
                    <a:pt x="1520" y="360"/>
                  </a:cubicBezTo>
                  <a:lnTo>
                    <a:pt x="1520" y="0"/>
                  </a:lnTo>
                  <a:close/>
                  <a:moveTo>
                    <a:pt x="44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60"/>
                    <a:pt x="0" y="360"/>
                    <a:pt x="0" y="360"/>
                  </a:cubicBezTo>
                  <a:cubicBezTo>
                    <a:pt x="440" y="360"/>
                    <a:pt x="440" y="360"/>
                    <a:pt x="440" y="360"/>
                  </a:cubicBezTo>
                  <a:lnTo>
                    <a:pt x="440" y="0"/>
                  </a:lnTo>
                  <a:close/>
                  <a:moveTo>
                    <a:pt x="0" y="440"/>
                  </a:moveTo>
                  <a:cubicBezTo>
                    <a:pt x="0" y="2080"/>
                    <a:pt x="0" y="2080"/>
                    <a:pt x="0" y="2080"/>
                  </a:cubicBezTo>
                  <a:cubicBezTo>
                    <a:pt x="1520" y="2080"/>
                    <a:pt x="1520" y="2080"/>
                    <a:pt x="1520" y="2080"/>
                  </a:cubicBezTo>
                  <a:cubicBezTo>
                    <a:pt x="1520" y="440"/>
                    <a:pt x="1520" y="440"/>
                    <a:pt x="1520" y="440"/>
                  </a:cubicBezTo>
                  <a:lnTo>
                    <a:pt x="0" y="440"/>
                  </a:lnTo>
                  <a:close/>
                  <a:moveTo>
                    <a:pt x="1320" y="1240"/>
                  </a:moveTo>
                  <a:cubicBezTo>
                    <a:pt x="1320" y="1549"/>
                    <a:pt x="1069" y="1800"/>
                    <a:pt x="760" y="1800"/>
                  </a:cubicBezTo>
                  <a:cubicBezTo>
                    <a:pt x="451" y="1800"/>
                    <a:pt x="200" y="1549"/>
                    <a:pt x="200" y="1240"/>
                  </a:cubicBezTo>
                  <a:cubicBezTo>
                    <a:pt x="200" y="931"/>
                    <a:pt x="451" y="680"/>
                    <a:pt x="760" y="680"/>
                  </a:cubicBezTo>
                  <a:cubicBezTo>
                    <a:pt x="1069" y="680"/>
                    <a:pt x="1320" y="931"/>
                    <a:pt x="1320" y="1240"/>
                  </a:cubicBezTo>
                  <a:close/>
                  <a:moveTo>
                    <a:pt x="760" y="760"/>
                  </a:moveTo>
                  <a:cubicBezTo>
                    <a:pt x="495" y="760"/>
                    <a:pt x="280" y="975"/>
                    <a:pt x="280" y="1240"/>
                  </a:cubicBezTo>
                  <a:cubicBezTo>
                    <a:pt x="280" y="1505"/>
                    <a:pt x="495" y="1720"/>
                    <a:pt x="760" y="1720"/>
                  </a:cubicBezTo>
                  <a:cubicBezTo>
                    <a:pt x="1025" y="1720"/>
                    <a:pt x="1240" y="1505"/>
                    <a:pt x="1240" y="1240"/>
                  </a:cubicBezTo>
                  <a:cubicBezTo>
                    <a:pt x="1240" y="975"/>
                    <a:pt x="1025" y="760"/>
                    <a:pt x="760" y="760"/>
                  </a:cubicBezTo>
                  <a:close/>
                  <a:moveTo>
                    <a:pt x="1160" y="1240"/>
                  </a:moveTo>
                  <a:cubicBezTo>
                    <a:pt x="1160" y="1461"/>
                    <a:pt x="981" y="1640"/>
                    <a:pt x="760" y="1640"/>
                  </a:cubicBezTo>
                  <a:cubicBezTo>
                    <a:pt x="539" y="1640"/>
                    <a:pt x="360" y="1461"/>
                    <a:pt x="360" y="1240"/>
                  </a:cubicBezTo>
                  <a:cubicBezTo>
                    <a:pt x="360" y="1019"/>
                    <a:pt x="539" y="840"/>
                    <a:pt x="760" y="840"/>
                  </a:cubicBezTo>
                  <a:cubicBezTo>
                    <a:pt x="981" y="840"/>
                    <a:pt x="1160" y="1019"/>
                    <a:pt x="1160" y="1240"/>
                  </a:cubicBezTo>
                  <a:close/>
                  <a:moveTo>
                    <a:pt x="1080" y="1240"/>
                  </a:moveTo>
                  <a:cubicBezTo>
                    <a:pt x="1080" y="1063"/>
                    <a:pt x="937" y="920"/>
                    <a:pt x="760" y="920"/>
                  </a:cubicBezTo>
                  <a:cubicBezTo>
                    <a:pt x="583" y="920"/>
                    <a:pt x="440" y="1063"/>
                    <a:pt x="440" y="1240"/>
                  </a:cubicBezTo>
                  <a:cubicBezTo>
                    <a:pt x="440" y="1417"/>
                    <a:pt x="583" y="1560"/>
                    <a:pt x="760" y="1560"/>
                  </a:cubicBezTo>
                  <a:cubicBezTo>
                    <a:pt x="937" y="1560"/>
                    <a:pt x="1080" y="1417"/>
                    <a:pt x="1080" y="1240"/>
                  </a:cubicBezTo>
                  <a:close/>
                  <a:moveTo>
                    <a:pt x="1280" y="140"/>
                  </a:moveTo>
                  <a:cubicBezTo>
                    <a:pt x="1324" y="140"/>
                    <a:pt x="1360" y="176"/>
                    <a:pt x="1360" y="220"/>
                  </a:cubicBezTo>
                  <a:cubicBezTo>
                    <a:pt x="1360" y="264"/>
                    <a:pt x="1324" y="300"/>
                    <a:pt x="1280" y="300"/>
                  </a:cubicBezTo>
                  <a:cubicBezTo>
                    <a:pt x="1236" y="300"/>
                    <a:pt x="1200" y="264"/>
                    <a:pt x="1200" y="220"/>
                  </a:cubicBezTo>
                  <a:cubicBezTo>
                    <a:pt x="1200" y="176"/>
                    <a:pt x="1236" y="140"/>
                    <a:pt x="1280" y="14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lIns="91384" tIns="45692" rIns="91384" bIns="45692"/>
            <a:lstStyle/>
            <a:p>
              <a:endParaRPr lang="en-US"/>
            </a:p>
          </p:txBody>
        </p:sp>
        <p:sp>
          <p:nvSpPr>
            <p:cNvPr id="162" name="Freeform 102"/>
            <p:cNvSpPr>
              <a:spLocks noChangeAspect="1"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4315640" y="3380785"/>
              <a:ext cx="539708" cy="389096"/>
            </a:xfrm>
            <a:custGeom>
              <a:avLst/>
              <a:gdLst>
                <a:gd name="T0" fmla="*/ 2147483647 w 2240"/>
                <a:gd name="T1" fmla="*/ 2147483647 h 1760"/>
                <a:gd name="T2" fmla="*/ 2147483647 w 2240"/>
                <a:gd name="T3" fmla="*/ 2147483647 h 1760"/>
                <a:gd name="T4" fmla="*/ 2147483647 w 2240"/>
                <a:gd name="T5" fmla="*/ 2147483647 h 1760"/>
                <a:gd name="T6" fmla="*/ 2147483647 w 2240"/>
                <a:gd name="T7" fmla="*/ 2147483647 h 1760"/>
                <a:gd name="T8" fmla="*/ 0 w 2240"/>
                <a:gd name="T9" fmla="*/ 2147483647 h 1760"/>
                <a:gd name="T10" fmla="*/ 0 w 2240"/>
                <a:gd name="T11" fmla="*/ 2147483647 h 1760"/>
                <a:gd name="T12" fmla="*/ 2147483647 w 2240"/>
                <a:gd name="T13" fmla="*/ 2147483647 h 1760"/>
                <a:gd name="T14" fmla="*/ 2147483647 w 2240"/>
                <a:gd name="T15" fmla="*/ 2147483647 h 1760"/>
                <a:gd name="T16" fmla="*/ 2147483647 w 2240"/>
                <a:gd name="T17" fmla="*/ 2147483647 h 1760"/>
                <a:gd name="T18" fmla="*/ 2147483647 w 2240"/>
                <a:gd name="T19" fmla="*/ 0 h 1760"/>
                <a:gd name="T20" fmla="*/ 2147483647 w 2240"/>
                <a:gd name="T21" fmla="*/ 0 h 1760"/>
                <a:gd name="T22" fmla="*/ 2147483647 w 2240"/>
                <a:gd name="T23" fmla="*/ 2147483647 h 1760"/>
                <a:gd name="T24" fmla="*/ 2147483647 w 2240"/>
                <a:gd name="T25" fmla="*/ 2147483647 h 1760"/>
                <a:gd name="T26" fmla="*/ 2147483647 w 2240"/>
                <a:gd name="T27" fmla="*/ 2147483647 h 1760"/>
                <a:gd name="T28" fmla="*/ 2147483647 w 2240"/>
                <a:gd name="T29" fmla="*/ 2147483647 h 1760"/>
                <a:gd name="T30" fmla="*/ 2147483647 w 2240"/>
                <a:gd name="T31" fmla="*/ 2147483647 h 1760"/>
                <a:gd name="T32" fmla="*/ 2147483647 w 2240"/>
                <a:gd name="T33" fmla="*/ 2147483647 h 1760"/>
                <a:gd name="T34" fmla="*/ 2147483647 w 2240"/>
                <a:gd name="T35" fmla="*/ 2147483647 h 1760"/>
                <a:gd name="T36" fmla="*/ 2147483647 w 2240"/>
                <a:gd name="T37" fmla="*/ 2147483647 h 1760"/>
                <a:gd name="T38" fmla="*/ 2147483647 w 2240"/>
                <a:gd name="T39" fmla="*/ 2147483647 h 1760"/>
                <a:gd name="T40" fmla="*/ 2147483647 w 2240"/>
                <a:gd name="T41" fmla="*/ 2147483647 h 1760"/>
                <a:gd name="T42" fmla="*/ 2147483647 w 2240"/>
                <a:gd name="T43" fmla="*/ 2147483647 h 1760"/>
                <a:gd name="T44" fmla="*/ 2147483647 w 2240"/>
                <a:gd name="T45" fmla="*/ 2147483647 h 1760"/>
                <a:gd name="T46" fmla="*/ 2147483647 w 2240"/>
                <a:gd name="T47" fmla="*/ 2147483647 h 1760"/>
                <a:gd name="T48" fmla="*/ 2147483647 w 2240"/>
                <a:gd name="T49" fmla="*/ 2147483647 h 1760"/>
                <a:gd name="T50" fmla="*/ 2147483647 w 2240"/>
                <a:gd name="T51" fmla="*/ 2147483647 h 1760"/>
                <a:gd name="T52" fmla="*/ 2147483647 w 2240"/>
                <a:gd name="T53" fmla="*/ 2147483647 h 1760"/>
                <a:gd name="T54" fmla="*/ 2147483647 w 2240"/>
                <a:gd name="T55" fmla="*/ 2147483647 h 1760"/>
                <a:gd name="T56" fmla="*/ 2147483647 w 2240"/>
                <a:gd name="T57" fmla="*/ 2147483647 h 1760"/>
                <a:gd name="T58" fmla="*/ 2147483647 w 2240"/>
                <a:gd name="T59" fmla="*/ 2147483647 h 1760"/>
                <a:gd name="T60" fmla="*/ 2147483647 w 2240"/>
                <a:gd name="T61" fmla="*/ 2147483647 h 1760"/>
                <a:gd name="T62" fmla="*/ 2147483647 w 2240"/>
                <a:gd name="T63" fmla="*/ 2147483647 h 17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240" h="1760">
                  <a:moveTo>
                    <a:pt x="2240" y="1360"/>
                  </a:moveTo>
                  <a:cubicBezTo>
                    <a:pt x="2240" y="1560"/>
                    <a:pt x="2240" y="1560"/>
                    <a:pt x="2240" y="1560"/>
                  </a:cubicBezTo>
                  <a:cubicBezTo>
                    <a:pt x="2240" y="1670"/>
                    <a:pt x="2150" y="1760"/>
                    <a:pt x="2040" y="1760"/>
                  </a:cubicBezTo>
                  <a:cubicBezTo>
                    <a:pt x="200" y="1760"/>
                    <a:pt x="200" y="1760"/>
                    <a:pt x="200" y="1760"/>
                  </a:cubicBezTo>
                  <a:cubicBezTo>
                    <a:pt x="90" y="1760"/>
                    <a:pt x="0" y="1670"/>
                    <a:pt x="0" y="1560"/>
                  </a:cubicBezTo>
                  <a:cubicBezTo>
                    <a:pt x="0" y="1360"/>
                    <a:pt x="0" y="1360"/>
                    <a:pt x="0" y="1360"/>
                  </a:cubicBezTo>
                  <a:cubicBezTo>
                    <a:pt x="747" y="1360"/>
                    <a:pt x="1493" y="1360"/>
                    <a:pt x="2240" y="1360"/>
                  </a:cubicBezTo>
                  <a:close/>
                  <a:moveTo>
                    <a:pt x="160" y="1280"/>
                  </a:moveTo>
                  <a:cubicBezTo>
                    <a:pt x="160" y="120"/>
                    <a:pt x="160" y="120"/>
                    <a:pt x="160" y="120"/>
                  </a:cubicBezTo>
                  <a:cubicBezTo>
                    <a:pt x="160" y="54"/>
                    <a:pt x="214" y="0"/>
                    <a:pt x="280" y="0"/>
                  </a:cubicBezTo>
                  <a:cubicBezTo>
                    <a:pt x="1960" y="0"/>
                    <a:pt x="1960" y="0"/>
                    <a:pt x="1960" y="0"/>
                  </a:cubicBezTo>
                  <a:cubicBezTo>
                    <a:pt x="2026" y="0"/>
                    <a:pt x="2080" y="54"/>
                    <a:pt x="2080" y="120"/>
                  </a:cubicBezTo>
                  <a:cubicBezTo>
                    <a:pt x="2080" y="1280"/>
                    <a:pt x="2080" y="1280"/>
                    <a:pt x="2080" y="1280"/>
                  </a:cubicBezTo>
                  <a:cubicBezTo>
                    <a:pt x="2000" y="1280"/>
                    <a:pt x="2000" y="1280"/>
                    <a:pt x="2000" y="1280"/>
                  </a:cubicBezTo>
                  <a:cubicBezTo>
                    <a:pt x="2000" y="120"/>
                    <a:pt x="2000" y="120"/>
                    <a:pt x="2000" y="120"/>
                  </a:cubicBezTo>
                  <a:cubicBezTo>
                    <a:pt x="2000" y="98"/>
                    <a:pt x="1982" y="80"/>
                    <a:pt x="1960" y="80"/>
                  </a:cubicBezTo>
                  <a:cubicBezTo>
                    <a:pt x="280" y="80"/>
                    <a:pt x="280" y="80"/>
                    <a:pt x="280" y="80"/>
                  </a:cubicBezTo>
                  <a:cubicBezTo>
                    <a:pt x="258" y="80"/>
                    <a:pt x="240" y="98"/>
                    <a:pt x="240" y="120"/>
                  </a:cubicBezTo>
                  <a:cubicBezTo>
                    <a:pt x="240" y="1280"/>
                    <a:pt x="240" y="1280"/>
                    <a:pt x="240" y="1280"/>
                  </a:cubicBezTo>
                  <a:lnTo>
                    <a:pt x="160" y="1280"/>
                  </a:lnTo>
                  <a:close/>
                  <a:moveTo>
                    <a:pt x="960" y="1600"/>
                  </a:moveTo>
                  <a:cubicBezTo>
                    <a:pt x="1280" y="1600"/>
                    <a:pt x="1280" y="1600"/>
                    <a:pt x="1280" y="1600"/>
                  </a:cubicBezTo>
                  <a:cubicBezTo>
                    <a:pt x="1302" y="1600"/>
                    <a:pt x="1320" y="1582"/>
                    <a:pt x="1320" y="1560"/>
                  </a:cubicBezTo>
                  <a:cubicBezTo>
                    <a:pt x="1320" y="1538"/>
                    <a:pt x="1302" y="1520"/>
                    <a:pt x="1280" y="1520"/>
                  </a:cubicBezTo>
                  <a:cubicBezTo>
                    <a:pt x="960" y="1520"/>
                    <a:pt x="960" y="1520"/>
                    <a:pt x="960" y="1520"/>
                  </a:cubicBezTo>
                  <a:cubicBezTo>
                    <a:pt x="938" y="1520"/>
                    <a:pt x="920" y="1538"/>
                    <a:pt x="920" y="1560"/>
                  </a:cubicBezTo>
                  <a:cubicBezTo>
                    <a:pt x="920" y="1582"/>
                    <a:pt x="938" y="1600"/>
                    <a:pt x="960" y="1600"/>
                  </a:cubicBezTo>
                  <a:close/>
                  <a:moveTo>
                    <a:pt x="320" y="1280"/>
                  </a:moveTo>
                  <a:cubicBezTo>
                    <a:pt x="320" y="160"/>
                    <a:pt x="320" y="160"/>
                    <a:pt x="320" y="160"/>
                  </a:cubicBezTo>
                  <a:cubicBezTo>
                    <a:pt x="1920" y="160"/>
                    <a:pt x="1920" y="160"/>
                    <a:pt x="1920" y="160"/>
                  </a:cubicBezTo>
                  <a:cubicBezTo>
                    <a:pt x="1920" y="1280"/>
                    <a:pt x="1920" y="1280"/>
                    <a:pt x="1920" y="1280"/>
                  </a:cubicBezTo>
                  <a:lnTo>
                    <a:pt x="320" y="128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lIns="91384" tIns="45692" rIns="91384" bIns="45692"/>
            <a:lstStyle/>
            <a:p>
              <a:endParaRPr lang="en-US"/>
            </a:p>
          </p:txBody>
        </p:sp>
        <p:sp>
          <p:nvSpPr>
            <p:cNvPr id="163" name="Freeform 45"/>
            <p:cNvSpPr>
              <a:spLocks noChangeAspect="1"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4440372" y="4357586"/>
              <a:ext cx="337135" cy="493999"/>
            </a:xfrm>
            <a:custGeom>
              <a:avLst/>
              <a:gdLst>
                <a:gd name="T0" fmla="*/ 600 w 1440"/>
                <a:gd name="T1" fmla="*/ 240 h 2120"/>
                <a:gd name="T2" fmla="*/ 840 w 1440"/>
                <a:gd name="T3" fmla="*/ 240 h 2120"/>
                <a:gd name="T4" fmla="*/ 880 w 1440"/>
                <a:gd name="T5" fmla="*/ 200 h 2120"/>
                <a:gd name="T6" fmla="*/ 840 w 1440"/>
                <a:gd name="T7" fmla="*/ 160 h 2120"/>
                <a:gd name="T8" fmla="*/ 600 w 1440"/>
                <a:gd name="T9" fmla="*/ 160 h 2120"/>
                <a:gd name="T10" fmla="*/ 560 w 1440"/>
                <a:gd name="T11" fmla="*/ 200 h 2120"/>
                <a:gd name="T12" fmla="*/ 600 w 1440"/>
                <a:gd name="T13" fmla="*/ 240 h 2120"/>
                <a:gd name="T14" fmla="*/ 721 w 1440"/>
                <a:gd name="T15" fmla="*/ 1759 h 2120"/>
                <a:gd name="T16" fmla="*/ 601 w 1440"/>
                <a:gd name="T17" fmla="*/ 1879 h 2120"/>
                <a:gd name="T18" fmla="*/ 721 w 1440"/>
                <a:gd name="T19" fmla="*/ 1999 h 2120"/>
                <a:gd name="T20" fmla="*/ 841 w 1440"/>
                <a:gd name="T21" fmla="*/ 1879 h 2120"/>
                <a:gd name="T22" fmla="*/ 721 w 1440"/>
                <a:gd name="T23" fmla="*/ 1759 h 2120"/>
                <a:gd name="T24" fmla="*/ 200 w 1440"/>
                <a:gd name="T25" fmla="*/ 0 h 2120"/>
                <a:gd name="T26" fmla="*/ 1240 w 1440"/>
                <a:gd name="T27" fmla="*/ 0 h 2120"/>
                <a:gd name="T28" fmla="*/ 1440 w 1440"/>
                <a:gd name="T29" fmla="*/ 200 h 2120"/>
                <a:gd name="T30" fmla="*/ 1440 w 1440"/>
                <a:gd name="T31" fmla="*/ 1920 h 2120"/>
                <a:gd name="T32" fmla="*/ 1240 w 1440"/>
                <a:gd name="T33" fmla="*/ 2120 h 2120"/>
                <a:gd name="T34" fmla="*/ 200 w 1440"/>
                <a:gd name="T35" fmla="*/ 2120 h 2120"/>
                <a:gd name="T36" fmla="*/ 0 w 1440"/>
                <a:gd name="T37" fmla="*/ 1920 h 2120"/>
                <a:gd name="T38" fmla="*/ 0 w 1440"/>
                <a:gd name="T39" fmla="*/ 200 h 2120"/>
                <a:gd name="T40" fmla="*/ 200 w 1440"/>
                <a:gd name="T41" fmla="*/ 0 h 2120"/>
                <a:gd name="T42" fmla="*/ 200 w 1440"/>
                <a:gd name="T43" fmla="*/ 360 h 2120"/>
                <a:gd name="T44" fmla="*/ 200 w 1440"/>
                <a:gd name="T45" fmla="*/ 1680 h 2120"/>
                <a:gd name="T46" fmla="*/ 1240 w 1440"/>
                <a:gd name="T47" fmla="*/ 1680 h 2120"/>
                <a:gd name="T48" fmla="*/ 1240 w 1440"/>
                <a:gd name="T49" fmla="*/ 360 h 2120"/>
                <a:gd name="T50" fmla="*/ 200 w 1440"/>
                <a:gd name="T51" fmla="*/ 360 h 2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0" h="2120">
                  <a:moveTo>
                    <a:pt x="600" y="240"/>
                  </a:moveTo>
                  <a:cubicBezTo>
                    <a:pt x="840" y="240"/>
                    <a:pt x="840" y="240"/>
                    <a:pt x="840" y="240"/>
                  </a:cubicBezTo>
                  <a:cubicBezTo>
                    <a:pt x="862" y="240"/>
                    <a:pt x="880" y="222"/>
                    <a:pt x="880" y="200"/>
                  </a:cubicBezTo>
                  <a:cubicBezTo>
                    <a:pt x="880" y="178"/>
                    <a:pt x="862" y="160"/>
                    <a:pt x="84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578" y="160"/>
                    <a:pt x="560" y="178"/>
                    <a:pt x="560" y="200"/>
                  </a:cubicBezTo>
                  <a:cubicBezTo>
                    <a:pt x="560" y="222"/>
                    <a:pt x="578" y="240"/>
                    <a:pt x="600" y="240"/>
                  </a:cubicBezTo>
                  <a:close/>
                  <a:moveTo>
                    <a:pt x="721" y="1759"/>
                  </a:moveTo>
                  <a:cubicBezTo>
                    <a:pt x="655" y="1759"/>
                    <a:pt x="601" y="1813"/>
                    <a:pt x="601" y="1879"/>
                  </a:cubicBezTo>
                  <a:cubicBezTo>
                    <a:pt x="601" y="1945"/>
                    <a:pt x="655" y="1999"/>
                    <a:pt x="721" y="1999"/>
                  </a:cubicBezTo>
                  <a:cubicBezTo>
                    <a:pt x="787" y="1999"/>
                    <a:pt x="841" y="1945"/>
                    <a:pt x="841" y="1879"/>
                  </a:cubicBezTo>
                  <a:cubicBezTo>
                    <a:pt x="841" y="1813"/>
                    <a:pt x="787" y="1759"/>
                    <a:pt x="721" y="1759"/>
                  </a:cubicBezTo>
                  <a:close/>
                  <a:moveTo>
                    <a:pt x="200" y="0"/>
                  </a:moveTo>
                  <a:cubicBezTo>
                    <a:pt x="1240" y="0"/>
                    <a:pt x="1240" y="0"/>
                    <a:pt x="1240" y="0"/>
                  </a:cubicBezTo>
                  <a:cubicBezTo>
                    <a:pt x="1350" y="0"/>
                    <a:pt x="1440" y="90"/>
                    <a:pt x="1440" y="200"/>
                  </a:cubicBezTo>
                  <a:cubicBezTo>
                    <a:pt x="1440" y="1920"/>
                    <a:pt x="1440" y="1920"/>
                    <a:pt x="1440" y="1920"/>
                  </a:cubicBezTo>
                  <a:cubicBezTo>
                    <a:pt x="1440" y="2030"/>
                    <a:pt x="1350" y="2120"/>
                    <a:pt x="1240" y="2120"/>
                  </a:cubicBezTo>
                  <a:cubicBezTo>
                    <a:pt x="200" y="2120"/>
                    <a:pt x="200" y="2120"/>
                    <a:pt x="200" y="2120"/>
                  </a:cubicBezTo>
                  <a:cubicBezTo>
                    <a:pt x="90" y="2120"/>
                    <a:pt x="0" y="2030"/>
                    <a:pt x="0" y="1920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90"/>
                    <a:pt x="90" y="0"/>
                    <a:pt x="200" y="0"/>
                  </a:cubicBezTo>
                  <a:close/>
                  <a:moveTo>
                    <a:pt x="200" y="360"/>
                  </a:moveTo>
                  <a:cubicBezTo>
                    <a:pt x="200" y="1680"/>
                    <a:pt x="200" y="1680"/>
                    <a:pt x="200" y="1680"/>
                  </a:cubicBezTo>
                  <a:cubicBezTo>
                    <a:pt x="1240" y="1680"/>
                    <a:pt x="1240" y="1680"/>
                    <a:pt x="1240" y="1680"/>
                  </a:cubicBezTo>
                  <a:cubicBezTo>
                    <a:pt x="1240" y="360"/>
                    <a:pt x="1240" y="360"/>
                    <a:pt x="1240" y="360"/>
                  </a:cubicBezTo>
                  <a:lnTo>
                    <a:pt x="200" y="36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lIns="91384" tIns="45692" rIns="91384" bIns="45692"/>
            <a:lstStyle/>
            <a:p>
              <a:pPr>
                <a:defRPr/>
              </a:pPr>
              <a:endParaRPr lang="en-US" sz="1000" b="1" noProof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endParaRPr>
            </a:p>
          </p:txBody>
        </p:sp>
        <p:sp>
          <p:nvSpPr>
            <p:cNvPr id="168" name="Freeform 75"/>
            <p:cNvSpPr>
              <a:spLocks noChangeAspect="1" noEditPoints="1"/>
            </p:cNvSpPr>
            <p:nvPr>
              <p:custDataLst>
                <p:tags r:id="rId9"/>
              </p:custDataLst>
            </p:nvPr>
          </p:nvSpPr>
          <p:spPr bwMode="auto">
            <a:xfrm>
              <a:off x="4570109" y="2436388"/>
              <a:ext cx="488950" cy="400894"/>
            </a:xfrm>
            <a:custGeom>
              <a:avLst/>
              <a:gdLst>
                <a:gd name="T0" fmla="*/ 2147483647 w 2187"/>
                <a:gd name="T1" fmla="*/ 2147483647 h 1565"/>
                <a:gd name="T2" fmla="*/ 2147483647 w 2187"/>
                <a:gd name="T3" fmla="*/ 2147483647 h 1565"/>
                <a:gd name="T4" fmla="*/ 2147483647 w 2187"/>
                <a:gd name="T5" fmla="*/ 2147483647 h 1565"/>
                <a:gd name="T6" fmla="*/ 2147483647 w 2187"/>
                <a:gd name="T7" fmla="*/ 2147483647 h 1565"/>
                <a:gd name="T8" fmla="*/ 2147483647 w 2187"/>
                <a:gd name="T9" fmla="*/ 2147483647 h 1565"/>
                <a:gd name="T10" fmla="*/ 2147483647 w 2187"/>
                <a:gd name="T11" fmla="*/ 2147483647 h 1565"/>
                <a:gd name="T12" fmla="*/ 2147483647 w 2187"/>
                <a:gd name="T13" fmla="*/ 2147483647 h 1565"/>
                <a:gd name="T14" fmla="*/ 2147483647 w 2187"/>
                <a:gd name="T15" fmla="*/ 2147483647 h 1565"/>
                <a:gd name="T16" fmla="*/ 2147483647 w 2187"/>
                <a:gd name="T17" fmla="*/ 2147483647 h 1565"/>
                <a:gd name="T18" fmla="*/ 2147483647 w 2187"/>
                <a:gd name="T19" fmla="*/ 2147483647 h 1565"/>
                <a:gd name="T20" fmla="*/ 2147483647 w 2187"/>
                <a:gd name="T21" fmla="*/ 2147483647 h 1565"/>
                <a:gd name="T22" fmla="*/ 2147483647 w 2187"/>
                <a:gd name="T23" fmla="*/ 2147483647 h 1565"/>
                <a:gd name="T24" fmla="*/ 2147483647 w 2187"/>
                <a:gd name="T25" fmla="*/ 2147483647 h 1565"/>
                <a:gd name="T26" fmla="*/ 0 w 2187"/>
                <a:gd name="T27" fmla="*/ 2147483647 h 1565"/>
                <a:gd name="T28" fmla="*/ 2147483647 w 2187"/>
                <a:gd name="T29" fmla="*/ 2147483647 h 1565"/>
                <a:gd name="T30" fmla="*/ 2147483647 w 2187"/>
                <a:gd name="T31" fmla="*/ 2147483647 h 1565"/>
                <a:gd name="T32" fmla="*/ 2147483647 w 2187"/>
                <a:gd name="T33" fmla="*/ 2147483647 h 1565"/>
                <a:gd name="T34" fmla="*/ 2147483647 w 2187"/>
                <a:gd name="T35" fmla="*/ 2147483647 h 1565"/>
                <a:gd name="T36" fmla="*/ 2147483647 w 2187"/>
                <a:gd name="T37" fmla="*/ 2147483647 h 1565"/>
                <a:gd name="T38" fmla="*/ 2147483647 w 2187"/>
                <a:gd name="T39" fmla="*/ 2147483647 h 1565"/>
                <a:gd name="T40" fmla="*/ 2147483647 w 2187"/>
                <a:gd name="T41" fmla="*/ 2147483647 h 1565"/>
                <a:gd name="T42" fmla="*/ 2147483647 w 2187"/>
                <a:gd name="T43" fmla="*/ 2147483647 h 1565"/>
                <a:gd name="T44" fmla="*/ 2147483647 w 2187"/>
                <a:gd name="T45" fmla="*/ 2147483647 h 1565"/>
                <a:gd name="T46" fmla="*/ 2147483647 w 2187"/>
                <a:gd name="T47" fmla="*/ 2147483647 h 1565"/>
                <a:gd name="T48" fmla="*/ 0 w 2187"/>
                <a:gd name="T49" fmla="*/ 2147483647 h 1565"/>
                <a:gd name="T50" fmla="*/ 0 w 2187"/>
                <a:gd name="T51" fmla="*/ 2147483647 h 1565"/>
                <a:gd name="T52" fmla="*/ 0 w 2187"/>
                <a:gd name="T53" fmla="*/ 2147483647 h 1565"/>
                <a:gd name="T54" fmla="*/ 2147483647 w 2187"/>
                <a:gd name="T55" fmla="*/ 2147483647 h 1565"/>
                <a:gd name="T56" fmla="*/ 2147483647 w 2187"/>
                <a:gd name="T57" fmla="*/ 2147483647 h 1565"/>
                <a:gd name="T58" fmla="*/ 2147483647 w 2187"/>
                <a:gd name="T59" fmla="*/ 2147483647 h 1565"/>
                <a:gd name="T60" fmla="*/ 2147483647 w 2187"/>
                <a:gd name="T61" fmla="*/ 2147483647 h 1565"/>
                <a:gd name="T62" fmla="*/ 2147483647 w 2187"/>
                <a:gd name="T63" fmla="*/ 2147483647 h 1565"/>
                <a:gd name="T64" fmla="*/ 2147483647 w 2187"/>
                <a:gd name="T65" fmla="*/ 2147483647 h 1565"/>
                <a:gd name="T66" fmla="*/ 2147483647 w 2187"/>
                <a:gd name="T67" fmla="*/ 2147483647 h 1565"/>
                <a:gd name="T68" fmla="*/ 2147483647 w 2187"/>
                <a:gd name="T69" fmla="*/ 2147483647 h 1565"/>
                <a:gd name="T70" fmla="*/ 2147483647 w 2187"/>
                <a:gd name="T71" fmla="*/ 2147483647 h 1565"/>
                <a:gd name="T72" fmla="*/ 2147483647 w 2187"/>
                <a:gd name="T73" fmla="*/ 2147483647 h 1565"/>
                <a:gd name="T74" fmla="*/ 0 w 2187"/>
                <a:gd name="T75" fmla="*/ 2147483647 h 1565"/>
                <a:gd name="T76" fmla="*/ 0 w 2187"/>
                <a:gd name="T77" fmla="*/ 2147483647 h 1565"/>
                <a:gd name="T78" fmla="*/ 0 w 2187"/>
                <a:gd name="T79" fmla="*/ 2147483647 h 1565"/>
                <a:gd name="T80" fmla="*/ 2147483647 w 2187"/>
                <a:gd name="T81" fmla="*/ 2147483647 h 1565"/>
                <a:gd name="T82" fmla="*/ 2147483647 w 2187"/>
                <a:gd name="T83" fmla="*/ 2147483647 h 1565"/>
                <a:gd name="T84" fmla="*/ 2147483647 w 2187"/>
                <a:gd name="T85" fmla="*/ 2147483647 h 1565"/>
                <a:gd name="T86" fmla="*/ 2147483647 w 2187"/>
                <a:gd name="T87" fmla="*/ 2147483647 h 1565"/>
                <a:gd name="T88" fmla="*/ 2147483647 w 2187"/>
                <a:gd name="T89" fmla="*/ 2147483647 h 1565"/>
                <a:gd name="T90" fmla="*/ 2147483647 w 2187"/>
                <a:gd name="T91" fmla="*/ 2147483647 h 1565"/>
                <a:gd name="T92" fmla="*/ 2147483647 w 2187"/>
                <a:gd name="T93" fmla="*/ 2147483647 h 1565"/>
                <a:gd name="T94" fmla="*/ 2147483647 w 2187"/>
                <a:gd name="T95" fmla="*/ 2147483647 h 1565"/>
                <a:gd name="T96" fmla="*/ 2147483647 w 2187"/>
                <a:gd name="T97" fmla="*/ 2147483647 h 1565"/>
                <a:gd name="T98" fmla="*/ 2147483647 w 2187"/>
                <a:gd name="T99" fmla="*/ 2147483647 h 1565"/>
                <a:gd name="T100" fmla="*/ 0 w 2187"/>
                <a:gd name="T101" fmla="*/ 2147483647 h 1565"/>
                <a:gd name="T102" fmla="*/ 0 w 2187"/>
                <a:gd name="T103" fmla="*/ 2147483647 h 156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187" h="1565">
                  <a:moveTo>
                    <a:pt x="2121" y="628"/>
                  </a:moveTo>
                  <a:cubicBezTo>
                    <a:pt x="2080" y="692"/>
                    <a:pt x="2021" y="743"/>
                    <a:pt x="1952" y="775"/>
                  </a:cubicBezTo>
                  <a:cubicBezTo>
                    <a:pt x="1934" y="784"/>
                    <a:pt x="1922" y="795"/>
                    <a:pt x="1914" y="813"/>
                  </a:cubicBezTo>
                  <a:cubicBezTo>
                    <a:pt x="1686" y="1335"/>
                    <a:pt x="1686" y="1335"/>
                    <a:pt x="1686" y="1335"/>
                  </a:cubicBezTo>
                  <a:cubicBezTo>
                    <a:pt x="1616" y="1495"/>
                    <a:pt x="1441" y="1565"/>
                    <a:pt x="1279" y="1509"/>
                  </a:cubicBezTo>
                  <a:cubicBezTo>
                    <a:pt x="1192" y="1479"/>
                    <a:pt x="1108" y="1402"/>
                    <a:pt x="1151" y="1303"/>
                  </a:cubicBezTo>
                  <a:cubicBezTo>
                    <a:pt x="1378" y="785"/>
                    <a:pt x="1378" y="785"/>
                    <a:pt x="1378" y="785"/>
                  </a:cubicBezTo>
                  <a:cubicBezTo>
                    <a:pt x="840" y="735"/>
                    <a:pt x="840" y="735"/>
                    <a:pt x="840" y="735"/>
                  </a:cubicBezTo>
                  <a:cubicBezTo>
                    <a:pt x="840" y="76"/>
                    <a:pt x="840" y="76"/>
                    <a:pt x="840" y="76"/>
                  </a:cubicBezTo>
                  <a:cubicBezTo>
                    <a:pt x="1724" y="9"/>
                    <a:pt x="1724" y="9"/>
                    <a:pt x="1724" y="9"/>
                  </a:cubicBezTo>
                  <a:cubicBezTo>
                    <a:pt x="1840" y="0"/>
                    <a:pt x="1956" y="33"/>
                    <a:pt x="2045" y="109"/>
                  </a:cubicBezTo>
                  <a:cubicBezTo>
                    <a:pt x="2121" y="174"/>
                    <a:pt x="2172" y="267"/>
                    <a:pt x="2180" y="379"/>
                  </a:cubicBezTo>
                  <a:cubicBezTo>
                    <a:pt x="2187" y="466"/>
                    <a:pt x="2168" y="553"/>
                    <a:pt x="2121" y="628"/>
                  </a:cubicBezTo>
                  <a:close/>
                  <a:moveTo>
                    <a:pt x="0" y="635"/>
                  </a:moveTo>
                  <a:cubicBezTo>
                    <a:pt x="9" y="638"/>
                    <a:pt x="18" y="640"/>
                    <a:pt x="27" y="640"/>
                  </a:cubicBezTo>
                  <a:cubicBezTo>
                    <a:pt x="90" y="640"/>
                    <a:pt x="164" y="553"/>
                    <a:pt x="253" y="553"/>
                  </a:cubicBezTo>
                  <a:cubicBezTo>
                    <a:pt x="342" y="553"/>
                    <a:pt x="416" y="640"/>
                    <a:pt x="480" y="640"/>
                  </a:cubicBezTo>
                  <a:cubicBezTo>
                    <a:pt x="544" y="640"/>
                    <a:pt x="618" y="553"/>
                    <a:pt x="707" y="553"/>
                  </a:cubicBezTo>
                  <a:cubicBezTo>
                    <a:pt x="725" y="553"/>
                    <a:pt x="743" y="557"/>
                    <a:pt x="760" y="562"/>
                  </a:cubicBezTo>
                  <a:cubicBezTo>
                    <a:pt x="760" y="649"/>
                    <a:pt x="760" y="649"/>
                    <a:pt x="760" y="649"/>
                  </a:cubicBezTo>
                  <a:cubicBezTo>
                    <a:pt x="741" y="640"/>
                    <a:pt x="723" y="633"/>
                    <a:pt x="707" y="633"/>
                  </a:cubicBezTo>
                  <a:cubicBezTo>
                    <a:pt x="643" y="633"/>
                    <a:pt x="569" y="720"/>
                    <a:pt x="480" y="720"/>
                  </a:cubicBezTo>
                  <a:cubicBezTo>
                    <a:pt x="391" y="720"/>
                    <a:pt x="317" y="633"/>
                    <a:pt x="253" y="633"/>
                  </a:cubicBezTo>
                  <a:cubicBezTo>
                    <a:pt x="190" y="633"/>
                    <a:pt x="116" y="720"/>
                    <a:pt x="27" y="720"/>
                  </a:cubicBezTo>
                  <a:cubicBezTo>
                    <a:pt x="18" y="720"/>
                    <a:pt x="9" y="719"/>
                    <a:pt x="0" y="717"/>
                  </a:cubicBezTo>
                  <a:lnTo>
                    <a:pt x="0" y="635"/>
                  </a:lnTo>
                  <a:close/>
                  <a:moveTo>
                    <a:pt x="0" y="435"/>
                  </a:moveTo>
                  <a:cubicBezTo>
                    <a:pt x="9" y="438"/>
                    <a:pt x="18" y="440"/>
                    <a:pt x="27" y="440"/>
                  </a:cubicBezTo>
                  <a:cubicBezTo>
                    <a:pt x="90" y="440"/>
                    <a:pt x="164" y="353"/>
                    <a:pt x="253" y="353"/>
                  </a:cubicBezTo>
                  <a:cubicBezTo>
                    <a:pt x="342" y="353"/>
                    <a:pt x="416" y="440"/>
                    <a:pt x="480" y="440"/>
                  </a:cubicBezTo>
                  <a:cubicBezTo>
                    <a:pt x="544" y="440"/>
                    <a:pt x="618" y="353"/>
                    <a:pt x="707" y="353"/>
                  </a:cubicBezTo>
                  <a:cubicBezTo>
                    <a:pt x="725" y="353"/>
                    <a:pt x="743" y="357"/>
                    <a:pt x="760" y="362"/>
                  </a:cubicBezTo>
                  <a:cubicBezTo>
                    <a:pt x="760" y="449"/>
                    <a:pt x="760" y="449"/>
                    <a:pt x="760" y="449"/>
                  </a:cubicBezTo>
                  <a:cubicBezTo>
                    <a:pt x="741" y="440"/>
                    <a:pt x="723" y="433"/>
                    <a:pt x="707" y="433"/>
                  </a:cubicBezTo>
                  <a:cubicBezTo>
                    <a:pt x="643" y="433"/>
                    <a:pt x="569" y="520"/>
                    <a:pt x="480" y="520"/>
                  </a:cubicBezTo>
                  <a:cubicBezTo>
                    <a:pt x="391" y="520"/>
                    <a:pt x="317" y="433"/>
                    <a:pt x="253" y="433"/>
                  </a:cubicBezTo>
                  <a:cubicBezTo>
                    <a:pt x="190" y="433"/>
                    <a:pt x="116" y="520"/>
                    <a:pt x="27" y="520"/>
                  </a:cubicBezTo>
                  <a:cubicBezTo>
                    <a:pt x="18" y="520"/>
                    <a:pt x="9" y="519"/>
                    <a:pt x="0" y="517"/>
                  </a:cubicBezTo>
                  <a:lnTo>
                    <a:pt x="0" y="435"/>
                  </a:lnTo>
                  <a:close/>
                  <a:moveTo>
                    <a:pt x="0" y="235"/>
                  </a:moveTo>
                  <a:cubicBezTo>
                    <a:pt x="9" y="238"/>
                    <a:pt x="18" y="240"/>
                    <a:pt x="27" y="240"/>
                  </a:cubicBezTo>
                  <a:cubicBezTo>
                    <a:pt x="90" y="240"/>
                    <a:pt x="164" y="153"/>
                    <a:pt x="253" y="153"/>
                  </a:cubicBezTo>
                  <a:cubicBezTo>
                    <a:pt x="342" y="153"/>
                    <a:pt x="416" y="240"/>
                    <a:pt x="480" y="240"/>
                  </a:cubicBezTo>
                  <a:cubicBezTo>
                    <a:pt x="544" y="240"/>
                    <a:pt x="618" y="153"/>
                    <a:pt x="707" y="153"/>
                  </a:cubicBezTo>
                  <a:cubicBezTo>
                    <a:pt x="725" y="153"/>
                    <a:pt x="743" y="157"/>
                    <a:pt x="760" y="162"/>
                  </a:cubicBezTo>
                  <a:cubicBezTo>
                    <a:pt x="760" y="249"/>
                    <a:pt x="760" y="249"/>
                    <a:pt x="760" y="249"/>
                  </a:cubicBezTo>
                  <a:cubicBezTo>
                    <a:pt x="741" y="240"/>
                    <a:pt x="723" y="233"/>
                    <a:pt x="707" y="233"/>
                  </a:cubicBezTo>
                  <a:cubicBezTo>
                    <a:pt x="643" y="233"/>
                    <a:pt x="569" y="320"/>
                    <a:pt x="480" y="320"/>
                  </a:cubicBezTo>
                  <a:cubicBezTo>
                    <a:pt x="391" y="320"/>
                    <a:pt x="317" y="233"/>
                    <a:pt x="253" y="233"/>
                  </a:cubicBezTo>
                  <a:cubicBezTo>
                    <a:pt x="190" y="233"/>
                    <a:pt x="116" y="320"/>
                    <a:pt x="27" y="320"/>
                  </a:cubicBezTo>
                  <a:cubicBezTo>
                    <a:pt x="18" y="320"/>
                    <a:pt x="9" y="319"/>
                    <a:pt x="0" y="317"/>
                  </a:cubicBezTo>
                  <a:lnTo>
                    <a:pt x="0" y="23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lIns="91384" tIns="45692" rIns="91384" bIns="45692"/>
            <a:lstStyle/>
            <a:p>
              <a:endParaRPr lang="en-US"/>
            </a:p>
          </p:txBody>
        </p:sp>
        <p:sp>
          <p:nvSpPr>
            <p:cNvPr id="167" name="Rectangle 166"/>
            <p:cNvSpPr/>
            <p:nvPr/>
          </p:nvSpPr>
          <p:spPr bwMode="gray">
            <a:xfrm>
              <a:off x="323854" y="1346351"/>
              <a:ext cx="854072" cy="1903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10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2014</a:t>
              </a:r>
              <a:endParaRPr lang="uk-UA" sz="1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0" name="Rectangle 169"/>
            <p:cNvSpPr/>
            <p:nvPr/>
          </p:nvSpPr>
          <p:spPr bwMode="gray">
            <a:xfrm>
              <a:off x="1185865" y="1346351"/>
              <a:ext cx="854072" cy="1903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10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2015</a:t>
              </a:r>
              <a:endParaRPr lang="uk-UA" sz="1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1" name="Rectangle 170"/>
            <p:cNvSpPr/>
            <p:nvPr/>
          </p:nvSpPr>
          <p:spPr bwMode="gray">
            <a:xfrm>
              <a:off x="2104252" y="1346351"/>
              <a:ext cx="854072" cy="1903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10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2016</a:t>
              </a:r>
              <a:endParaRPr lang="uk-UA" sz="1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2" name="Rectangle 171"/>
            <p:cNvSpPr/>
            <p:nvPr/>
          </p:nvSpPr>
          <p:spPr bwMode="gray">
            <a:xfrm>
              <a:off x="2998756" y="1346351"/>
              <a:ext cx="854072" cy="1903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10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1Q 2017</a:t>
              </a:r>
              <a:endParaRPr lang="uk-UA" sz="1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3" name="Rectangle 172"/>
            <p:cNvSpPr/>
            <p:nvPr/>
          </p:nvSpPr>
          <p:spPr bwMode="gray">
            <a:xfrm>
              <a:off x="5311755" y="1327302"/>
              <a:ext cx="854072" cy="1903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10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2014</a:t>
              </a:r>
              <a:endParaRPr lang="uk-UA" sz="1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4" name="Rectangle 173"/>
            <p:cNvSpPr/>
            <p:nvPr/>
          </p:nvSpPr>
          <p:spPr bwMode="gray">
            <a:xfrm>
              <a:off x="6173766" y="1327302"/>
              <a:ext cx="854072" cy="1903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10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2015</a:t>
              </a:r>
              <a:endParaRPr lang="uk-UA" sz="1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5" name="Rectangle 174"/>
            <p:cNvSpPr/>
            <p:nvPr/>
          </p:nvSpPr>
          <p:spPr bwMode="gray">
            <a:xfrm>
              <a:off x="7123114" y="1327302"/>
              <a:ext cx="854072" cy="1903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10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2016</a:t>
              </a:r>
              <a:endParaRPr lang="uk-UA" sz="1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6" name="Rectangle 175"/>
            <p:cNvSpPr/>
            <p:nvPr/>
          </p:nvSpPr>
          <p:spPr bwMode="gray">
            <a:xfrm>
              <a:off x="8017338" y="1327302"/>
              <a:ext cx="854072" cy="1903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10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1Q 2017</a:t>
              </a:r>
              <a:endParaRPr lang="uk-UA" sz="1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9" name="Rectangle 168"/>
            <p:cNvSpPr/>
            <p:nvPr/>
          </p:nvSpPr>
          <p:spPr bwMode="gray">
            <a:xfrm>
              <a:off x="6204845" y="1128427"/>
              <a:ext cx="1939965" cy="1486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84" tIns="45692" rIns="91384" bIns="45692" anchor="ctr"/>
            <a:lstStyle/>
            <a:p>
              <a:pPr>
                <a:spcBef>
                  <a:spcPts val="300"/>
                </a:spcBef>
                <a:defRPr/>
              </a:pPr>
              <a:r>
                <a:rPr lang="uk-UA" sz="1200" dirty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Традиционные продажи</a:t>
              </a:r>
            </a:p>
          </p:txBody>
        </p:sp>
        <p:sp>
          <p:nvSpPr>
            <p:cNvPr id="179" name="Rectangle 178"/>
            <p:cNvSpPr/>
            <p:nvPr/>
          </p:nvSpPr>
          <p:spPr bwMode="gray">
            <a:xfrm>
              <a:off x="1361122" y="1120168"/>
              <a:ext cx="1942251" cy="15098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84" tIns="45692" rIns="91384" bIns="45692" anchor="ctr"/>
            <a:lstStyle/>
            <a:p>
              <a:pPr>
                <a:spcBef>
                  <a:spcPts val="300"/>
                </a:spcBef>
                <a:defRPr/>
              </a:pPr>
              <a:r>
                <a:rPr lang="uk-UA" sz="1200" dirty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Интернет продажи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597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CI_QVW_ID_002" hidden="1"/>
          <p:cNvSpPr txBox="1"/>
          <p:nvPr/>
        </p:nvSpPr>
        <p:spPr>
          <a:xfrm>
            <a:off x="1410" y="0"/>
            <a:ext cx="497099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DE" sz="100">
                <a:solidFill>
                  <a:srgbClr val="FFFFFF"/>
                </a:solidFill>
                <a:latin typeface="Arial"/>
              </a:rPr>
              <a:t>PRJ 127160 - RG 4773046 - RP 30755232 - ID 510733058</a:t>
            </a:r>
          </a:p>
        </p:txBody>
      </p:sp>
      <p:sp>
        <p:nvSpPr>
          <p:cNvPr id="4" name="RCI_QVW_ChartName_003" hidden="1"/>
          <p:cNvSpPr txBox="1"/>
          <p:nvPr/>
        </p:nvSpPr>
        <p:spPr>
          <a:xfrm>
            <a:off x="1411" y="0"/>
            <a:ext cx="242299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DE" sz="100">
                <a:solidFill>
                  <a:srgbClr val="FFFFFF"/>
                </a:solidFill>
                <a:latin typeface="Arial"/>
              </a:rPr>
              <a:t>TH1 / SH1</a:t>
            </a:r>
          </a:p>
        </p:txBody>
      </p:sp>
      <p:sp>
        <p:nvSpPr>
          <p:cNvPr id="5" name="RCI_QVW_ChartFile_004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RCI_QVW_ExportDateTime_005" hidden="1"/>
          <p:cNvSpPr txBox="1"/>
          <p:nvPr/>
        </p:nvSpPr>
        <p:spPr>
          <a:xfrm>
            <a:off x="1411" y="0"/>
            <a:ext cx="293579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DE" sz="100">
                <a:solidFill>
                  <a:srgbClr val="FFFFFF"/>
                </a:solidFill>
                <a:latin typeface="Arial"/>
              </a:rPr>
              <a:t>2017-05-23 13:59:47</a:t>
            </a:r>
          </a:p>
        </p:txBody>
      </p:sp>
      <p:sp>
        <p:nvSpPr>
          <p:cNvPr id="7" name="RCI_QVW_ChartType_006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RCI_QVW_Left1_007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CI_QVW_Left2_008" hidden="1"/>
          <p:cNvSpPr txBox="1"/>
          <p:nvPr/>
        </p:nvSpPr>
        <p:spPr>
          <a:xfrm>
            <a:off x="1411" y="0"/>
            <a:ext cx="263133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DE" sz="100">
                <a:solidFill>
                  <a:srgbClr val="FFFFFF"/>
                </a:solidFill>
                <a:latin typeface="Arial"/>
              </a:rPr>
              <a:t>Sales Value %</a:t>
            </a:r>
          </a:p>
        </p:txBody>
      </p:sp>
      <p:sp>
        <p:nvSpPr>
          <p:cNvPr id="10" name="RCI_QVW_Left3_009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CI_QVW_Right1_010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CI_QVW_Right2_011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RCI_QVW_Right3_012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RCI_QVW_REPName_013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RCI_QVW_SHName_014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RCI_QVW_THName_015" hidden="1"/>
          <p:cNvSpPr txBox="1"/>
          <p:nvPr/>
        </p:nvSpPr>
        <p:spPr>
          <a:xfrm>
            <a:off x="1411" y="0"/>
            <a:ext cx="184674" cy="10768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14126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ля онлайна растет или стабильна</a:t>
            </a:r>
            <a:r>
              <a:rPr lang="en-US" dirty="0"/>
              <a:t> </a:t>
            </a:r>
            <a:endParaRPr lang="uk-UA" dirty="0"/>
          </a:p>
        </p:txBody>
      </p:sp>
      <p:grpSp>
        <p:nvGrpSpPr>
          <p:cNvPr id="18" name="Group 17"/>
          <p:cNvGrpSpPr/>
          <p:nvPr/>
        </p:nvGrpSpPr>
        <p:grpSpPr>
          <a:xfrm>
            <a:off x="0" y="-49709"/>
            <a:ext cx="9172575" cy="5153025"/>
            <a:chOff x="0" y="-49709"/>
            <a:chExt cx="9172575" cy="5153025"/>
          </a:xfrm>
        </p:grpSpPr>
        <p:sp>
          <p:nvSpPr>
            <p:cNvPr id="170" name="AutoShape 146"/>
            <p:cNvSpPr>
              <a:spLocks noChangeAspect="1" noChangeArrowheads="1" noTextEdit="1"/>
            </p:cNvSpPr>
            <p:nvPr/>
          </p:nvSpPr>
          <p:spPr bwMode="auto">
            <a:xfrm>
              <a:off x="4763" y="-44946"/>
              <a:ext cx="9140825" cy="5143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71" name="Rectangle 148"/>
            <p:cNvSpPr>
              <a:spLocks noChangeArrowheads="1"/>
            </p:cNvSpPr>
            <p:nvPr/>
          </p:nvSpPr>
          <p:spPr bwMode="auto">
            <a:xfrm>
              <a:off x="0" y="-49709"/>
              <a:ext cx="3175" cy="3175"/>
            </a:xfrm>
            <a:prstGeom prst="rect">
              <a:avLst/>
            </a:prstGeom>
            <a:noFill/>
            <a:ln w="0" cap="flat">
              <a:solidFill>
                <a:srgbClr val="FF660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72" name="Rectangle 149"/>
            <p:cNvSpPr>
              <a:spLocks noChangeArrowheads="1"/>
            </p:cNvSpPr>
            <p:nvPr/>
          </p:nvSpPr>
          <p:spPr bwMode="auto">
            <a:xfrm>
              <a:off x="9169400" y="5100141"/>
              <a:ext cx="3175" cy="3175"/>
            </a:xfrm>
            <a:prstGeom prst="rect">
              <a:avLst/>
            </a:prstGeom>
            <a:no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73" name="Rectangle 150"/>
            <p:cNvSpPr>
              <a:spLocks noChangeArrowheads="1"/>
            </p:cNvSpPr>
            <p:nvPr/>
          </p:nvSpPr>
          <p:spPr bwMode="auto">
            <a:xfrm>
              <a:off x="136525" y="807541"/>
              <a:ext cx="8896350" cy="371475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74" name="Rectangle 151"/>
            <p:cNvSpPr>
              <a:spLocks noChangeArrowheads="1"/>
            </p:cNvSpPr>
            <p:nvPr/>
          </p:nvSpPr>
          <p:spPr bwMode="auto">
            <a:xfrm>
              <a:off x="6132513" y="1013916"/>
              <a:ext cx="877888" cy="171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9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Sales </a:t>
              </a:r>
              <a:r>
                <a:rPr kumimoji="0" lang="uk-UA" altLang="uk-UA" sz="900" b="0" i="0" u="none" strike="noStrike" cap="none" normalizeH="0" baseline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Value</a:t>
              </a:r>
              <a:r>
                <a:rPr kumimoji="0" lang="uk-UA" altLang="uk-UA" sz="9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 %</a:t>
              </a:r>
              <a:endParaRPr kumimoji="0" lang="uk-UA" altLang="uk-UA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6" name="Rectangle 153"/>
            <p:cNvSpPr>
              <a:spLocks noChangeArrowheads="1"/>
            </p:cNvSpPr>
            <p:nvPr/>
          </p:nvSpPr>
          <p:spPr bwMode="auto">
            <a:xfrm>
              <a:off x="312738" y="1355229"/>
              <a:ext cx="28098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5-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7" name="Rectangle 154"/>
            <p:cNvSpPr>
              <a:spLocks noChangeArrowheads="1"/>
            </p:cNvSpPr>
            <p:nvPr/>
          </p:nvSpPr>
          <p:spPr bwMode="auto">
            <a:xfrm>
              <a:off x="312738" y="1445716"/>
              <a:ext cx="271463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Dec 15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8" name="Rectangle 155"/>
            <p:cNvSpPr>
              <a:spLocks noChangeArrowheads="1"/>
            </p:cNvSpPr>
            <p:nvPr/>
          </p:nvSpPr>
          <p:spPr bwMode="auto">
            <a:xfrm>
              <a:off x="801688" y="1355229"/>
              <a:ext cx="28098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6-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9" name="Rectangle 156"/>
            <p:cNvSpPr>
              <a:spLocks noChangeArrowheads="1"/>
            </p:cNvSpPr>
            <p:nvPr/>
          </p:nvSpPr>
          <p:spPr bwMode="auto">
            <a:xfrm>
              <a:off x="801688" y="1445716"/>
              <a:ext cx="271463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Dec 16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0" name="Rectangle 157"/>
            <p:cNvSpPr>
              <a:spLocks noChangeArrowheads="1"/>
            </p:cNvSpPr>
            <p:nvPr/>
          </p:nvSpPr>
          <p:spPr bwMode="auto">
            <a:xfrm>
              <a:off x="1290638" y="1355229"/>
              <a:ext cx="28098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7-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1" name="Rectangle 158"/>
            <p:cNvSpPr>
              <a:spLocks noChangeArrowheads="1"/>
            </p:cNvSpPr>
            <p:nvPr/>
          </p:nvSpPr>
          <p:spPr bwMode="auto">
            <a:xfrm>
              <a:off x="1298575" y="1445716"/>
              <a:ext cx="26193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Mar 17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2" name="Rectangle 159"/>
            <p:cNvSpPr>
              <a:spLocks noChangeArrowheads="1"/>
            </p:cNvSpPr>
            <p:nvPr/>
          </p:nvSpPr>
          <p:spPr bwMode="auto">
            <a:xfrm>
              <a:off x="2919413" y="1355229"/>
              <a:ext cx="28098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5-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3" name="Rectangle 160"/>
            <p:cNvSpPr>
              <a:spLocks noChangeArrowheads="1"/>
            </p:cNvSpPr>
            <p:nvPr/>
          </p:nvSpPr>
          <p:spPr bwMode="auto">
            <a:xfrm>
              <a:off x="2919413" y="1445716"/>
              <a:ext cx="271463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Dec 15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4" name="Rectangle 161"/>
            <p:cNvSpPr>
              <a:spLocks noChangeArrowheads="1"/>
            </p:cNvSpPr>
            <p:nvPr/>
          </p:nvSpPr>
          <p:spPr bwMode="auto">
            <a:xfrm>
              <a:off x="3408363" y="1355229"/>
              <a:ext cx="28098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6-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5" name="Rectangle 162"/>
            <p:cNvSpPr>
              <a:spLocks noChangeArrowheads="1"/>
            </p:cNvSpPr>
            <p:nvPr/>
          </p:nvSpPr>
          <p:spPr bwMode="auto">
            <a:xfrm>
              <a:off x="3416300" y="1445716"/>
              <a:ext cx="271463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Dec 16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6" name="Rectangle 163"/>
            <p:cNvSpPr>
              <a:spLocks noChangeArrowheads="1"/>
            </p:cNvSpPr>
            <p:nvPr/>
          </p:nvSpPr>
          <p:spPr bwMode="auto">
            <a:xfrm>
              <a:off x="3895725" y="1355229"/>
              <a:ext cx="28098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7-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7" name="Rectangle 164"/>
            <p:cNvSpPr>
              <a:spLocks noChangeArrowheads="1"/>
            </p:cNvSpPr>
            <p:nvPr/>
          </p:nvSpPr>
          <p:spPr bwMode="auto">
            <a:xfrm>
              <a:off x="3905250" y="1445716"/>
              <a:ext cx="26193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Mar 17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8" name="Rectangle 165"/>
            <p:cNvSpPr>
              <a:spLocks noChangeArrowheads="1"/>
            </p:cNvSpPr>
            <p:nvPr/>
          </p:nvSpPr>
          <p:spPr bwMode="auto">
            <a:xfrm>
              <a:off x="4494213" y="1355229"/>
              <a:ext cx="28098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5-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9" name="Rectangle 166"/>
            <p:cNvSpPr>
              <a:spLocks noChangeArrowheads="1"/>
            </p:cNvSpPr>
            <p:nvPr/>
          </p:nvSpPr>
          <p:spPr bwMode="auto">
            <a:xfrm>
              <a:off x="4494213" y="1445716"/>
              <a:ext cx="271463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Dec 15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" name="Rectangle 167"/>
            <p:cNvSpPr>
              <a:spLocks noChangeArrowheads="1"/>
            </p:cNvSpPr>
            <p:nvPr/>
          </p:nvSpPr>
          <p:spPr bwMode="auto">
            <a:xfrm>
              <a:off x="4983163" y="1355229"/>
              <a:ext cx="28098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6-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1" name="Rectangle 168"/>
            <p:cNvSpPr>
              <a:spLocks noChangeArrowheads="1"/>
            </p:cNvSpPr>
            <p:nvPr/>
          </p:nvSpPr>
          <p:spPr bwMode="auto">
            <a:xfrm>
              <a:off x="4983163" y="1445716"/>
              <a:ext cx="271463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Dec 16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4992" name="Rectangle 169"/>
            <p:cNvSpPr>
              <a:spLocks noChangeArrowheads="1"/>
            </p:cNvSpPr>
            <p:nvPr/>
          </p:nvSpPr>
          <p:spPr bwMode="auto">
            <a:xfrm>
              <a:off x="5470525" y="1355229"/>
              <a:ext cx="28098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7-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4993" name="Rectangle 170"/>
            <p:cNvSpPr>
              <a:spLocks noChangeArrowheads="1"/>
            </p:cNvSpPr>
            <p:nvPr/>
          </p:nvSpPr>
          <p:spPr bwMode="auto">
            <a:xfrm>
              <a:off x="5480050" y="1445716"/>
              <a:ext cx="26193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Mar 17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4994" name="Rectangle 171"/>
            <p:cNvSpPr>
              <a:spLocks noChangeArrowheads="1"/>
            </p:cNvSpPr>
            <p:nvPr/>
          </p:nvSpPr>
          <p:spPr bwMode="auto">
            <a:xfrm>
              <a:off x="6059488" y="1355229"/>
              <a:ext cx="28098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5-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4995" name="Rectangle 172"/>
            <p:cNvSpPr>
              <a:spLocks noChangeArrowheads="1"/>
            </p:cNvSpPr>
            <p:nvPr/>
          </p:nvSpPr>
          <p:spPr bwMode="auto">
            <a:xfrm>
              <a:off x="6069013" y="1445716"/>
              <a:ext cx="271463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Dec 15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4996" name="Rectangle 173"/>
            <p:cNvSpPr>
              <a:spLocks noChangeArrowheads="1"/>
            </p:cNvSpPr>
            <p:nvPr/>
          </p:nvSpPr>
          <p:spPr bwMode="auto">
            <a:xfrm>
              <a:off x="6557963" y="1355229"/>
              <a:ext cx="28098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6-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4997" name="Rectangle 174"/>
            <p:cNvSpPr>
              <a:spLocks noChangeArrowheads="1"/>
            </p:cNvSpPr>
            <p:nvPr/>
          </p:nvSpPr>
          <p:spPr bwMode="auto">
            <a:xfrm>
              <a:off x="6557963" y="1445716"/>
              <a:ext cx="271463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Dec 16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4998" name="Rectangle 175"/>
            <p:cNvSpPr>
              <a:spLocks noChangeArrowheads="1"/>
            </p:cNvSpPr>
            <p:nvPr/>
          </p:nvSpPr>
          <p:spPr bwMode="auto">
            <a:xfrm>
              <a:off x="7045325" y="1355229"/>
              <a:ext cx="28098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7-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4999" name="Rectangle 176"/>
            <p:cNvSpPr>
              <a:spLocks noChangeArrowheads="1"/>
            </p:cNvSpPr>
            <p:nvPr/>
          </p:nvSpPr>
          <p:spPr bwMode="auto">
            <a:xfrm>
              <a:off x="7054850" y="1445716"/>
              <a:ext cx="26193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Mar 17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01" name="Rectangle 177"/>
            <p:cNvSpPr>
              <a:spLocks noChangeArrowheads="1"/>
            </p:cNvSpPr>
            <p:nvPr/>
          </p:nvSpPr>
          <p:spPr bwMode="auto">
            <a:xfrm>
              <a:off x="7634288" y="1355229"/>
              <a:ext cx="28098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5-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02" name="Rectangle 178"/>
            <p:cNvSpPr>
              <a:spLocks noChangeArrowheads="1"/>
            </p:cNvSpPr>
            <p:nvPr/>
          </p:nvSpPr>
          <p:spPr bwMode="auto">
            <a:xfrm>
              <a:off x="7643813" y="1445716"/>
              <a:ext cx="271463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Dec 15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03" name="Rectangle 179"/>
            <p:cNvSpPr>
              <a:spLocks noChangeArrowheads="1"/>
            </p:cNvSpPr>
            <p:nvPr/>
          </p:nvSpPr>
          <p:spPr bwMode="auto">
            <a:xfrm>
              <a:off x="8123238" y="1355229"/>
              <a:ext cx="28098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6-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04" name="Rectangle 180"/>
            <p:cNvSpPr>
              <a:spLocks noChangeArrowheads="1"/>
            </p:cNvSpPr>
            <p:nvPr/>
          </p:nvSpPr>
          <p:spPr bwMode="auto">
            <a:xfrm>
              <a:off x="8131175" y="1445716"/>
              <a:ext cx="271463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Dec 16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05" name="Rectangle 181"/>
            <p:cNvSpPr>
              <a:spLocks noChangeArrowheads="1"/>
            </p:cNvSpPr>
            <p:nvPr/>
          </p:nvSpPr>
          <p:spPr bwMode="auto">
            <a:xfrm>
              <a:off x="8620125" y="1355229"/>
              <a:ext cx="28098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Jan 17-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06" name="Rectangle 182"/>
            <p:cNvSpPr>
              <a:spLocks noChangeArrowheads="1"/>
            </p:cNvSpPr>
            <p:nvPr/>
          </p:nvSpPr>
          <p:spPr bwMode="auto">
            <a:xfrm>
              <a:off x="8620125" y="1445716"/>
              <a:ext cx="261938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Mar 17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07" name="Rectangle 183"/>
            <p:cNvSpPr>
              <a:spLocks noChangeArrowheads="1"/>
            </p:cNvSpPr>
            <p:nvPr/>
          </p:nvSpPr>
          <p:spPr bwMode="auto">
            <a:xfrm>
              <a:off x="801688" y="1220291"/>
              <a:ext cx="317500" cy="144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Total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08" name="Rectangle 184"/>
            <p:cNvSpPr>
              <a:spLocks noChangeArrowheads="1"/>
            </p:cNvSpPr>
            <p:nvPr/>
          </p:nvSpPr>
          <p:spPr bwMode="auto">
            <a:xfrm>
              <a:off x="3000375" y="1220291"/>
              <a:ext cx="1203325" cy="144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Consumer Electronics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09" name="Rectangle 185"/>
            <p:cNvSpPr>
              <a:spLocks noChangeArrowheads="1"/>
            </p:cNvSpPr>
            <p:nvPr/>
          </p:nvSpPr>
          <p:spPr bwMode="auto">
            <a:xfrm>
              <a:off x="4621213" y="1220291"/>
              <a:ext cx="1095375" cy="144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Domestic Appliance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10" name="Rectangle 186"/>
            <p:cNvSpPr>
              <a:spLocks noChangeArrowheads="1"/>
            </p:cNvSpPr>
            <p:nvPr/>
          </p:nvSpPr>
          <p:spPr bwMode="auto">
            <a:xfrm>
              <a:off x="6103938" y="1220291"/>
              <a:ext cx="1276350" cy="144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Information Technology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11" name="Rectangle 187"/>
            <p:cNvSpPr>
              <a:spLocks noChangeArrowheads="1"/>
            </p:cNvSpPr>
            <p:nvPr/>
          </p:nvSpPr>
          <p:spPr bwMode="auto">
            <a:xfrm>
              <a:off x="8040688" y="1220291"/>
              <a:ext cx="506413" cy="144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Telecom</a:t>
              </a:r>
              <a:endPara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12" name="Rectangle 188"/>
            <p:cNvSpPr>
              <a:spLocks noChangeArrowheads="1"/>
            </p:cNvSpPr>
            <p:nvPr/>
          </p:nvSpPr>
          <p:spPr bwMode="auto">
            <a:xfrm>
              <a:off x="206375" y="2356941"/>
              <a:ext cx="446088" cy="25019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13" name="Rectangle 189"/>
            <p:cNvSpPr>
              <a:spLocks noChangeArrowheads="1"/>
            </p:cNvSpPr>
            <p:nvPr/>
          </p:nvSpPr>
          <p:spPr bwMode="auto">
            <a:xfrm>
              <a:off x="206375" y="2356941"/>
              <a:ext cx="446088" cy="250190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14" name="Rectangle 190"/>
            <p:cNvSpPr>
              <a:spLocks noChangeArrowheads="1"/>
            </p:cNvSpPr>
            <p:nvPr/>
          </p:nvSpPr>
          <p:spPr bwMode="auto">
            <a:xfrm>
              <a:off x="357188" y="3515816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76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15" name="Rectangle 191"/>
            <p:cNvSpPr>
              <a:spLocks noChangeArrowheads="1"/>
            </p:cNvSpPr>
            <p:nvPr/>
          </p:nvSpPr>
          <p:spPr bwMode="auto">
            <a:xfrm>
              <a:off x="206375" y="1561604"/>
              <a:ext cx="446088" cy="7969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16" name="Rectangle 192"/>
            <p:cNvSpPr>
              <a:spLocks noChangeArrowheads="1"/>
            </p:cNvSpPr>
            <p:nvPr/>
          </p:nvSpPr>
          <p:spPr bwMode="auto">
            <a:xfrm>
              <a:off x="206375" y="1561604"/>
              <a:ext cx="446088" cy="796925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17" name="Rectangle 193"/>
            <p:cNvSpPr>
              <a:spLocks noChangeArrowheads="1"/>
            </p:cNvSpPr>
            <p:nvPr/>
          </p:nvSpPr>
          <p:spPr bwMode="auto">
            <a:xfrm>
              <a:off x="376238" y="1871166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24</a:t>
              </a:r>
            </a:p>
          </p:txBody>
        </p:sp>
        <p:sp>
          <p:nvSpPr>
            <p:cNvPr id="165018" name="Rectangle 194"/>
            <p:cNvSpPr>
              <a:spLocks noChangeArrowheads="1"/>
            </p:cNvSpPr>
            <p:nvPr/>
          </p:nvSpPr>
          <p:spPr bwMode="auto">
            <a:xfrm>
              <a:off x="698500" y="2369641"/>
              <a:ext cx="444500" cy="2489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19" name="Rectangle 195"/>
            <p:cNvSpPr>
              <a:spLocks noChangeArrowheads="1"/>
            </p:cNvSpPr>
            <p:nvPr/>
          </p:nvSpPr>
          <p:spPr bwMode="auto">
            <a:xfrm>
              <a:off x="698500" y="2369641"/>
              <a:ext cx="444500" cy="248920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20" name="Rectangle 196"/>
            <p:cNvSpPr>
              <a:spLocks noChangeArrowheads="1"/>
            </p:cNvSpPr>
            <p:nvPr/>
          </p:nvSpPr>
          <p:spPr bwMode="auto">
            <a:xfrm>
              <a:off x="846138" y="3525341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75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21" name="Rectangle 197"/>
            <p:cNvSpPr>
              <a:spLocks noChangeArrowheads="1"/>
            </p:cNvSpPr>
            <p:nvPr/>
          </p:nvSpPr>
          <p:spPr bwMode="auto">
            <a:xfrm>
              <a:off x="698500" y="1561604"/>
              <a:ext cx="444500" cy="80803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22" name="Rectangle 198"/>
            <p:cNvSpPr>
              <a:spLocks noChangeArrowheads="1"/>
            </p:cNvSpPr>
            <p:nvPr/>
          </p:nvSpPr>
          <p:spPr bwMode="auto">
            <a:xfrm>
              <a:off x="698500" y="1561604"/>
              <a:ext cx="444500" cy="80803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23" name="Rectangle 199"/>
            <p:cNvSpPr>
              <a:spLocks noChangeArrowheads="1"/>
            </p:cNvSpPr>
            <p:nvPr/>
          </p:nvSpPr>
          <p:spPr bwMode="auto">
            <a:xfrm>
              <a:off x="865188" y="1880691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25</a:t>
              </a:r>
            </a:p>
          </p:txBody>
        </p:sp>
        <p:sp>
          <p:nvSpPr>
            <p:cNvPr id="165024" name="Rectangle 200"/>
            <p:cNvSpPr>
              <a:spLocks noChangeArrowheads="1"/>
            </p:cNvSpPr>
            <p:nvPr/>
          </p:nvSpPr>
          <p:spPr bwMode="auto">
            <a:xfrm>
              <a:off x="1189038" y="2415679"/>
              <a:ext cx="446088" cy="244316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25" name="Rectangle 201"/>
            <p:cNvSpPr>
              <a:spLocks noChangeArrowheads="1"/>
            </p:cNvSpPr>
            <p:nvPr/>
          </p:nvSpPr>
          <p:spPr bwMode="auto">
            <a:xfrm>
              <a:off x="1189038" y="2415679"/>
              <a:ext cx="446088" cy="2443163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26" name="Rectangle 202"/>
            <p:cNvSpPr>
              <a:spLocks noChangeArrowheads="1"/>
            </p:cNvSpPr>
            <p:nvPr/>
          </p:nvSpPr>
          <p:spPr bwMode="auto">
            <a:xfrm>
              <a:off x="1312696" y="3534809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74</a:t>
              </a:r>
              <a:endParaRPr kumimoji="0" lang="uk-UA" altLang="uk-UA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27" name="Rectangle 203"/>
            <p:cNvSpPr>
              <a:spLocks noChangeArrowheads="1"/>
            </p:cNvSpPr>
            <p:nvPr/>
          </p:nvSpPr>
          <p:spPr bwMode="auto">
            <a:xfrm>
              <a:off x="1189038" y="1561604"/>
              <a:ext cx="446088" cy="85725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28" name="Rectangle 204"/>
            <p:cNvSpPr>
              <a:spLocks noChangeArrowheads="1"/>
            </p:cNvSpPr>
            <p:nvPr/>
          </p:nvSpPr>
          <p:spPr bwMode="auto">
            <a:xfrm>
              <a:off x="1189038" y="1561604"/>
              <a:ext cx="446088" cy="85725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29" name="Rectangle 205"/>
            <p:cNvSpPr>
              <a:spLocks noChangeArrowheads="1"/>
            </p:cNvSpPr>
            <p:nvPr/>
          </p:nvSpPr>
          <p:spPr bwMode="auto">
            <a:xfrm>
              <a:off x="1312696" y="1897022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26</a:t>
              </a:r>
            </a:p>
          </p:txBody>
        </p:sp>
        <p:sp>
          <p:nvSpPr>
            <p:cNvPr id="165030" name="Rectangle 206"/>
            <p:cNvSpPr>
              <a:spLocks noChangeArrowheads="1"/>
            </p:cNvSpPr>
            <p:nvPr/>
          </p:nvSpPr>
          <p:spPr bwMode="auto">
            <a:xfrm>
              <a:off x="2816225" y="2304554"/>
              <a:ext cx="444500" cy="255428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31" name="Rectangle 207"/>
            <p:cNvSpPr>
              <a:spLocks noChangeArrowheads="1"/>
            </p:cNvSpPr>
            <p:nvPr/>
          </p:nvSpPr>
          <p:spPr bwMode="auto">
            <a:xfrm>
              <a:off x="2816225" y="2304554"/>
              <a:ext cx="444500" cy="255428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32" name="Rectangle 208"/>
            <p:cNvSpPr>
              <a:spLocks noChangeArrowheads="1"/>
            </p:cNvSpPr>
            <p:nvPr/>
          </p:nvSpPr>
          <p:spPr bwMode="auto">
            <a:xfrm>
              <a:off x="2963863" y="3498354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77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33" name="Rectangle 209"/>
            <p:cNvSpPr>
              <a:spLocks noChangeArrowheads="1"/>
            </p:cNvSpPr>
            <p:nvPr/>
          </p:nvSpPr>
          <p:spPr bwMode="auto">
            <a:xfrm>
              <a:off x="2816225" y="1561604"/>
              <a:ext cx="444500" cy="74295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34" name="Rectangle 210"/>
            <p:cNvSpPr>
              <a:spLocks noChangeArrowheads="1"/>
            </p:cNvSpPr>
            <p:nvPr/>
          </p:nvSpPr>
          <p:spPr bwMode="auto">
            <a:xfrm>
              <a:off x="2816225" y="1561604"/>
              <a:ext cx="444500" cy="74295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35" name="Rectangle 211"/>
            <p:cNvSpPr>
              <a:spLocks noChangeArrowheads="1"/>
            </p:cNvSpPr>
            <p:nvPr/>
          </p:nvSpPr>
          <p:spPr bwMode="auto">
            <a:xfrm>
              <a:off x="2982913" y="1844179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23</a:t>
              </a:r>
            </a:p>
          </p:txBody>
        </p:sp>
        <p:sp>
          <p:nvSpPr>
            <p:cNvPr id="165036" name="Rectangle 212"/>
            <p:cNvSpPr>
              <a:spLocks noChangeArrowheads="1"/>
            </p:cNvSpPr>
            <p:nvPr/>
          </p:nvSpPr>
          <p:spPr bwMode="auto">
            <a:xfrm>
              <a:off x="3308350" y="2336304"/>
              <a:ext cx="444500" cy="252253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37" name="Rectangle 213"/>
            <p:cNvSpPr>
              <a:spLocks noChangeArrowheads="1"/>
            </p:cNvSpPr>
            <p:nvPr/>
          </p:nvSpPr>
          <p:spPr bwMode="auto">
            <a:xfrm>
              <a:off x="3308350" y="2336304"/>
              <a:ext cx="444500" cy="252253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38" name="Rectangle 214"/>
            <p:cNvSpPr>
              <a:spLocks noChangeArrowheads="1"/>
            </p:cNvSpPr>
            <p:nvPr/>
          </p:nvSpPr>
          <p:spPr bwMode="auto">
            <a:xfrm>
              <a:off x="3452813" y="3507879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77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39" name="Rectangle 215"/>
            <p:cNvSpPr>
              <a:spLocks noChangeArrowheads="1"/>
            </p:cNvSpPr>
            <p:nvPr/>
          </p:nvSpPr>
          <p:spPr bwMode="auto">
            <a:xfrm>
              <a:off x="3308350" y="1561604"/>
              <a:ext cx="444500" cy="7747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40" name="Rectangle 216"/>
            <p:cNvSpPr>
              <a:spLocks noChangeArrowheads="1"/>
            </p:cNvSpPr>
            <p:nvPr/>
          </p:nvSpPr>
          <p:spPr bwMode="auto">
            <a:xfrm>
              <a:off x="3308350" y="1561604"/>
              <a:ext cx="444500" cy="77470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41" name="Rectangle 217"/>
            <p:cNvSpPr>
              <a:spLocks noChangeArrowheads="1"/>
            </p:cNvSpPr>
            <p:nvPr/>
          </p:nvSpPr>
          <p:spPr bwMode="auto">
            <a:xfrm>
              <a:off x="3471863" y="1861641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23</a:t>
              </a:r>
            </a:p>
          </p:txBody>
        </p:sp>
        <p:sp>
          <p:nvSpPr>
            <p:cNvPr id="165042" name="Rectangle 218"/>
            <p:cNvSpPr>
              <a:spLocks noChangeArrowheads="1"/>
            </p:cNvSpPr>
            <p:nvPr/>
          </p:nvSpPr>
          <p:spPr bwMode="auto">
            <a:xfrm>
              <a:off x="3798888" y="2334716"/>
              <a:ext cx="446088" cy="25241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43" name="Rectangle 219"/>
            <p:cNvSpPr>
              <a:spLocks noChangeArrowheads="1"/>
            </p:cNvSpPr>
            <p:nvPr/>
          </p:nvSpPr>
          <p:spPr bwMode="auto">
            <a:xfrm>
              <a:off x="3798888" y="2334716"/>
              <a:ext cx="446088" cy="2524125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44" name="Rectangle 220"/>
            <p:cNvSpPr>
              <a:spLocks noChangeArrowheads="1"/>
            </p:cNvSpPr>
            <p:nvPr/>
          </p:nvSpPr>
          <p:spPr bwMode="auto">
            <a:xfrm>
              <a:off x="3941763" y="3507879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77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45" name="Rectangle 221"/>
            <p:cNvSpPr>
              <a:spLocks noChangeArrowheads="1"/>
            </p:cNvSpPr>
            <p:nvPr/>
          </p:nvSpPr>
          <p:spPr bwMode="auto">
            <a:xfrm>
              <a:off x="3798888" y="1561604"/>
              <a:ext cx="446088" cy="7731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46" name="Rectangle 222"/>
            <p:cNvSpPr>
              <a:spLocks noChangeArrowheads="1"/>
            </p:cNvSpPr>
            <p:nvPr/>
          </p:nvSpPr>
          <p:spPr bwMode="auto">
            <a:xfrm>
              <a:off x="3798888" y="1561604"/>
              <a:ext cx="446088" cy="773113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47" name="Rectangle 223"/>
            <p:cNvSpPr>
              <a:spLocks noChangeArrowheads="1"/>
            </p:cNvSpPr>
            <p:nvPr/>
          </p:nvSpPr>
          <p:spPr bwMode="auto">
            <a:xfrm>
              <a:off x="3960813" y="1861641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23</a:t>
              </a:r>
            </a:p>
          </p:txBody>
        </p:sp>
        <p:sp>
          <p:nvSpPr>
            <p:cNvPr id="165048" name="Rectangle 224"/>
            <p:cNvSpPr>
              <a:spLocks noChangeArrowheads="1"/>
            </p:cNvSpPr>
            <p:nvPr/>
          </p:nvSpPr>
          <p:spPr bwMode="auto">
            <a:xfrm>
              <a:off x="4387850" y="2483941"/>
              <a:ext cx="444500" cy="23749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49" name="Rectangle 225"/>
            <p:cNvSpPr>
              <a:spLocks noChangeArrowheads="1"/>
            </p:cNvSpPr>
            <p:nvPr/>
          </p:nvSpPr>
          <p:spPr bwMode="auto">
            <a:xfrm>
              <a:off x="4387850" y="2483941"/>
              <a:ext cx="444500" cy="237490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50" name="Rectangle 226"/>
            <p:cNvSpPr>
              <a:spLocks noChangeArrowheads="1"/>
            </p:cNvSpPr>
            <p:nvPr/>
          </p:nvSpPr>
          <p:spPr bwMode="auto">
            <a:xfrm>
              <a:off x="4538663" y="3579316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72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51" name="Rectangle 227"/>
            <p:cNvSpPr>
              <a:spLocks noChangeArrowheads="1"/>
            </p:cNvSpPr>
            <p:nvPr/>
          </p:nvSpPr>
          <p:spPr bwMode="auto">
            <a:xfrm>
              <a:off x="4387850" y="1561604"/>
              <a:ext cx="444500" cy="922338"/>
            </a:xfrm>
            <a:prstGeom prst="rect">
              <a:avLst/>
            </a:prstGeom>
            <a:solidFill>
              <a:srgbClr val="A1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52" name="Rectangle 228"/>
            <p:cNvSpPr>
              <a:spLocks noChangeArrowheads="1"/>
            </p:cNvSpPr>
            <p:nvPr/>
          </p:nvSpPr>
          <p:spPr bwMode="auto">
            <a:xfrm>
              <a:off x="4387850" y="1561604"/>
              <a:ext cx="444500" cy="922338"/>
            </a:xfrm>
            <a:prstGeom prst="rect">
              <a:avLst/>
            </a:prstGeom>
            <a:solidFill>
              <a:schemeClr val="accent2"/>
            </a:solidFill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53" name="Rectangle 229"/>
            <p:cNvSpPr>
              <a:spLocks noChangeArrowheads="1"/>
            </p:cNvSpPr>
            <p:nvPr/>
          </p:nvSpPr>
          <p:spPr bwMode="auto">
            <a:xfrm>
              <a:off x="4557713" y="1934666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28</a:t>
              </a:r>
            </a:p>
          </p:txBody>
        </p:sp>
        <p:sp>
          <p:nvSpPr>
            <p:cNvPr id="165054" name="Rectangle 230"/>
            <p:cNvSpPr>
              <a:spLocks noChangeArrowheads="1"/>
            </p:cNvSpPr>
            <p:nvPr/>
          </p:nvSpPr>
          <p:spPr bwMode="auto">
            <a:xfrm>
              <a:off x="4879975" y="2483941"/>
              <a:ext cx="444500" cy="23749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55" name="Rectangle 231"/>
            <p:cNvSpPr>
              <a:spLocks noChangeArrowheads="1"/>
            </p:cNvSpPr>
            <p:nvPr/>
          </p:nvSpPr>
          <p:spPr bwMode="auto">
            <a:xfrm>
              <a:off x="4879975" y="2483941"/>
              <a:ext cx="444500" cy="237490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56" name="Rectangle 232"/>
            <p:cNvSpPr>
              <a:spLocks noChangeArrowheads="1"/>
            </p:cNvSpPr>
            <p:nvPr/>
          </p:nvSpPr>
          <p:spPr bwMode="auto">
            <a:xfrm>
              <a:off x="5027613" y="3579316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72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57" name="Rectangle 233"/>
            <p:cNvSpPr>
              <a:spLocks noChangeArrowheads="1"/>
            </p:cNvSpPr>
            <p:nvPr/>
          </p:nvSpPr>
          <p:spPr bwMode="auto">
            <a:xfrm>
              <a:off x="4879975" y="1561604"/>
              <a:ext cx="444500" cy="92233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58" name="Rectangle 234"/>
            <p:cNvSpPr>
              <a:spLocks noChangeArrowheads="1"/>
            </p:cNvSpPr>
            <p:nvPr/>
          </p:nvSpPr>
          <p:spPr bwMode="auto">
            <a:xfrm>
              <a:off x="4879975" y="1561604"/>
              <a:ext cx="444500" cy="92233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59" name="Rectangle 235"/>
            <p:cNvSpPr>
              <a:spLocks noChangeArrowheads="1"/>
            </p:cNvSpPr>
            <p:nvPr/>
          </p:nvSpPr>
          <p:spPr bwMode="auto">
            <a:xfrm>
              <a:off x="5027613" y="1934666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28</a:t>
              </a:r>
            </a:p>
          </p:txBody>
        </p:sp>
        <p:sp>
          <p:nvSpPr>
            <p:cNvPr id="165060" name="Rectangle 236"/>
            <p:cNvSpPr>
              <a:spLocks noChangeArrowheads="1"/>
            </p:cNvSpPr>
            <p:nvPr/>
          </p:nvSpPr>
          <p:spPr bwMode="auto">
            <a:xfrm>
              <a:off x="5370513" y="2529979"/>
              <a:ext cx="446088" cy="232886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61" name="Rectangle 237"/>
            <p:cNvSpPr>
              <a:spLocks noChangeArrowheads="1"/>
            </p:cNvSpPr>
            <p:nvPr/>
          </p:nvSpPr>
          <p:spPr bwMode="auto">
            <a:xfrm>
              <a:off x="5370513" y="2529979"/>
              <a:ext cx="446088" cy="2328863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62" name="Rectangle 238"/>
            <p:cNvSpPr>
              <a:spLocks noChangeArrowheads="1"/>
            </p:cNvSpPr>
            <p:nvPr/>
          </p:nvSpPr>
          <p:spPr bwMode="auto">
            <a:xfrm>
              <a:off x="5516563" y="3606304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71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63" name="Rectangle 239"/>
            <p:cNvSpPr>
              <a:spLocks noChangeArrowheads="1"/>
            </p:cNvSpPr>
            <p:nvPr/>
          </p:nvSpPr>
          <p:spPr bwMode="auto">
            <a:xfrm>
              <a:off x="5370513" y="1561604"/>
              <a:ext cx="446088" cy="9683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64" name="Rectangle 240"/>
            <p:cNvSpPr>
              <a:spLocks noChangeArrowheads="1"/>
            </p:cNvSpPr>
            <p:nvPr/>
          </p:nvSpPr>
          <p:spPr bwMode="auto">
            <a:xfrm>
              <a:off x="5370513" y="1561604"/>
              <a:ext cx="446088" cy="968375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65" name="Rectangle 241"/>
            <p:cNvSpPr>
              <a:spLocks noChangeArrowheads="1"/>
            </p:cNvSpPr>
            <p:nvPr/>
          </p:nvSpPr>
          <p:spPr bwMode="auto">
            <a:xfrm>
              <a:off x="5516563" y="1952129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29</a:t>
              </a:r>
            </a:p>
          </p:txBody>
        </p:sp>
        <p:sp>
          <p:nvSpPr>
            <p:cNvPr id="165066" name="Rectangle 242"/>
            <p:cNvSpPr>
              <a:spLocks noChangeArrowheads="1"/>
            </p:cNvSpPr>
            <p:nvPr/>
          </p:nvSpPr>
          <p:spPr bwMode="auto">
            <a:xfrm>
              <a:off x="5959475" y="2515691"/>
              <a:ext cx="446088" cy="234315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67" name="Rectangle 243"/>
            <p:cNvSpPr>
              <a:spLocks noChangeArrowheads="1"/>
            </p:cNvSpPr>
            <p:nvPr/>
          </p:nvSpPr>
          <p:spPr bwMode="auto">
            <a:xfrm>
              <a:off x="5959475" y="2515691"/>
              <a:ext cx="446088" cy="234315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68" name="Rectangle 244"/>
            <p:cNvSpPr>
              <a:spLocks noChangeArrowheads="1"/>
            </p:cNvSpPr>
            <p:nvPr/>
          </p:nvSpPr>
          <p:spPr bwMode="auto">
            <a:xfrm>
              <a:off x="6103938" y="3596779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71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69" name="Rectangle 245"/>
            <p:cNvSpPr>
              <a:spLocks noChangeArrowheads="1"/>
            </p:cNvSpPr>
            <p:nvPr/>
          </p:nvSpPr>
          <p:spPr bwMode="auto">
            <a:xfrm>
              <a:off x="5959475" y="1561604"/>
              <a:ext cx="446088" cy="95408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70" name="Rectangle 246"/>
            <p:cNvSpPr>
              <a:spLocks noChangeArrowheads="1"/>
            </p:cNvSpPr>
            <p:nvPr/>
          </p:nvSpPr>
          <p:spPr bwMode="auto">
            <a:xfrm>
              <a:off x="5959475" y="1561604"/>
              <a:ext cx="446088" cy="95408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71" name="Rectangle 247"/>
            <p:cNvSpPr>
              <a:spLocks noChangeArrowheads="1"/>
            </p:cNvSpPr>
            <p:nvPr/>
          </p:nvSpPr>
          <p:spPr bwMode="auto">
            <a:xfrm>
              <a:off x="6103938" y="1952129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29</a:t>
              </a:r>
            </a:p>
          </p:txBody>
        </p:sp>
        <p:sp>
          <p:nvSpPr>
            <p:cNvPr id="165072" name="Rectangle 248"/>
            <p:cNvSpPr>
              <a:spLocks noChangeArrowheads="1"/>
            </p:cNvSpPr>
            <p:nvPr/>
          </p:nvSpPr>
          <p:spPr bwMode="auto">
            <a:xfrm>
              <a:off x="6451600" y="2660154"/>
              <a:ext cx="444500" cy="219868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73" name="Rectangle 249"/>
            <p:cNvSpPr>
              <a:spLocks noChangeArrowheads="1"/>
            </p:cNvSpPr>
            <p:nvPr/>
          </p:nvSpPr>
          <p:spPr bwMode="auto">
            <a:xfrm>
              <a:off x="6451600" y="2660154"/>
              <a:ext cx="444500" cy="219868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74" name="Rectangle 250"/>
            <p:cNvSpPr>
              <a:spLocks noChangeArrowheads="1"/>
            </p:cNvSpPr>
            <p:nvPr/>
          </p:nvSpPr>
          <p:spPr bwMode="auto">
            <a:xfrm>
              <a:off x="6602413" y="3669804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67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75" name="Rectangle 251"/>
            <p:cNvSpPr>
              <a:spLocks noChangeArrowheads="1"/>
            </p:cNvSpPr>
            <p:nvPr/>
          </p:nvSpPr>
          <p:spPr bwMode="auto">
            <a:xfrm>
              <a:off x="6451600" y="1561604"/>
              <a:ext cx="444500" cy="109855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76" name="Rectangle 252"/>
            <p:cNvSpPr>
              <a:spLocks noChangeArrowheads="1"/>
            </p:cNvSpPr>
            <p:nvPr/>
          </p:nvSpPr>
          <p:spPr bwMode="auto">
            <a:xfrm>
              <a:off x="6451600" y="1561604"/>
              <a:ext cx="444500" cy="109855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77" name="Rectangle 253"/>
            <p:cNvSpPr>
              <a:spLocks noChangeArrowheads="1"/>
            </p:cNvSpPr>
            <p:nvPr/>
          </p:nvSpPr>
          <p:spPr bwMode="auto">
            <a:xfrm>
              <a:off x="6602413" y="2025154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33</a:t>
              </a:r>
            </a:p>
          </p:txBody>
        </p:sp>
        <p:sp>
          <p:nvSpPr>
            <p:cNvPr id="165078" name="Rectangle 254"/>
            <p:cNvSpPr>
              <a:spLocks noChangeArrowheads="1"/>
            </p:cNvSpPr>
            <p:nvPr/>
          </p:nvSpPr>
          <p:spPr bwMode="auto">
            <a:xfrm>
              <a:off x="6943725" y="2787154"/>
              <a:ext cx="444500" cy="207168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79" name="Rectangle 255"/>
            <p:cNvSpPr>
              <a:spLocks noChangeArrowheads="1"/>
            </p:cNvSpPr>
            <p:nvPr/>
          </p:nvSpPr>
          <p:spPr bwMode="auto">
            <a:xfrm>
              <a:off x="6943725" y="2787154"/>
              <a:ext cx="444500" cy="207168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80" name="Rectangle 256"/>
            <p:cNvSpPr>
              <a:spLocks noChangeArrowheads="1"/>
            </p:cNvSpPr>
            <p:nvPr/>
          </p:nvSpPr>
          <p:spPr bwMode="auto">
            <a:xfrm>
              <a:off x="7091363" y="3733304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63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81" name="Rectangle 257"/>
            <p:cNvSpPr>
              <a:spLocks noChangeArrowheads="1"/>
            </p:cNvSpPr>
            <p:nvPr/>
          </p:nvSpPr>
          <p:spPr bwMode="auto">
            <a:xfrm>
              <a:off x="6943725" y="1561604"/>
              <a:ext cx="444500" cy="122555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82" name="Rectangle 258"/>
            <p:cNvSpPr>
              <a:spLocks noChangeArrowheads="1"/>
            </p:cNvSpPr>
            <p:nvPr/>
          </p:nvSpPr>
          <p:spPr bwMode="auto">
            <a:xfrm>
              <a:off x="6943725" y="1561604"/>
              <a:ext cx="444500" cy="122555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83" name="Rectangle 259"/>
            <p:cNvSpPr>
              <a:spLocks noChangeArrowheads="1"/>
            </p:cNvSpPr>
            <p:nvPr/>
          </p:nvSpPr>
          <p:spPr bwMode="auto">
            <a:xfrm>
              <a:off x="7091363" y="2088654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37</a:t>
              </a:r>
            </a:p>
          </p:txBody>
        </p:sp>
        <p:sp>
          <p:nvSpPr>
            <p:cNvPr id="165084" name="Rectangle 260"/>
            <p:cNvSpPr>
              <a:spLocks noChangeArrowheads="1"/>
            </p:cNvSpPr>
            <p:nvPr/>
          </p:nvSpPr>
          <p:spPr bwMode="auto">
            <a:xfrm>
              <a:off x="7532688" y="2098179"/>
              <a:ext cx="444500" cy="276066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85" name="Rectangle 261"/>
            <p:cNvSpPr>
              <a:spLocks noChangeArrowheads="1"/>
            </p:cNvSpPr>
            <p:nvPr/>
          </p:nvSpPr>
          <p:spPr bwMode="auto">
            <a:xfrm>
              <a:off x="7532688" y="2098179"/>
              <a:ext cx="444500" cy="2760663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86" name="Rectangle 262"/>
            <p:cNvSpPr>
              <a:spLocks noChangeArrowheads="1"/>
            </p:cNvSpPr>
            <p:nvPr/>
          </p:nvSpPr>
          <p:spPr bwMode="auto">
            <a:xfrm>
              <a:off x="7678738" y="3390404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84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87" name="Rectangle 263"/>
            <p:cNvSpPr>
              <a:spLocks noChangeArrowheads="1"/>
            </p:cNvSpPr>
            <p:nvPr/>
          </p:nvSpPr>
          <p:spPr bwMode="auto">
            <a:xfrm>
              <a:off x="7532688" y="1561604"/>
              <a:ext cx="444500" cy="5365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88" name="Rectangle 264"/>
            <p:cNvSpPr>
              <a:spLocks noChangeArrowheads="1"/>
            </p:cNvSpPr>
            <p:nvPr/>
          </p:nvSpPr>
          <p:spPr bwMode="auto">
            <a:xfrm>
              <a:off x="7532688" y="1561604"/>
              <a:ext cx="444500" cy="536575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89" name="Rectangle 265"/>
            <p:cNvSpPr>
              <a:spLocks noChangeArrowheads="1"/>
            </p:cNvSpPr>
            <p:nvPr/>
          </p:nvSpPr>
          <p:spPr bwMode="auto">
            <a:xfrm>
              <a:off x="7678738" y="1744166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16</a:t>
              </a:r>
            </a:p>
          </p:txBody>
        </p:sp>
        <p:sp>
          <p:nvSpPr>
            <p:cNvPr id="165090" name="Rectangle 266"/>
            <p:cNvSpPr>
              <a:spLocks noChangeArrowheads="1"/>
            </p:cNvSpPr>
            <p:nvPr/>
          </p:nvSpPr>
          <p:spPr bwMode="auto">
            <a:xfrm>
              <a:off x="8023225" y="2082304"/>
              <a:ext cx="446088" cy="277653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91" name="Rectangle 267"/>
            <p:cNvSpPr>
              <a:spLocks noChangeArrowheads="1"/>
            </p:cNvSpPr>
            <p:nvPr/>
          </p:nvSpPr>
          <p:spPr bwMode="auto">
            <a:xfrm>
              <a:off x="8023225" y="2082304"/>
              <a:ext cx="446088" cy="277653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92" name="Rectangle 268"/>
            <p:cNvSpPr>
              <a:spLocks noChangeArrowheads="1"/>
            </p:cNvSpPr>
            <p:nvPr/>
          </p:nvSpPr>
          <p:spPr bwMode="auto">
            <a:xfrm>
              <a:off x="8167688" y="3380879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84</a:t>
              </a:r>
              <a:endParaRPr kumimoji="0" lang="uk-UA" altLang="uk-U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93" name="Rectangle 269"/>
            <p:cNvSpPr>
              <a:spLocks noChangeArrowheads="1"/>
            </p:cNvSpPr>
            <p:nvPr/>
          </p:nvSpPr>
          <p:spPr bwMode="auto">
            <a:xfrm>
              <a:off x="8023225" y="1561604"/>
              <a:ext cx="446088" cy="5207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94" name="Rectangle 270"/>
            <p:cNvSpPr>
              <a:spLocks noChangeArrowheads="1"/>
            </p:cNvSpPr>
            <p:nvPr/>
          </p:nvSpPr>
          <p:spPr bwMode="auto">
            <a:xfrm>
              <a:off x="8023225" y="1561604"/>
              <a:ext cx="446088" cy="52070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95" name="Rectangle 271"/>
            <p:cNvSpPr>
              <a:spLocks noChangeArrowheads="1"/>
            </p:cNvSpPr>
            <p:nvPr/>
          </p:nvSpPr>
          <p:spPr bwMode="auto">
            <a:xfrm>
              <a:off x="8167688" y="1734641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16</a:t>
              </a:r>
            </a:p>
          </p:txBody>
        </p:sp>
        <p:sp>
          <p:nvSpPr>
            <p:cNvPr id="165096" name="Rectangle 272"/>
            <p:cNvSpPr>
              <a:spLocks noChangeArrowheads="1"/>
            </p:cNvSpPr>
            <p:nvPr/>
          </p:nvSpPr>
          <p:spPr bwMode="auto">
            <a:xfrm>
              <a:off x="8515350" y="2109291"/>
              <a:ext cx="444500" cy="274955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97" name="Rectangle 273"/>
            <p:cNvSpPr>
              <a:spLocks noChangeArrowheads="1"/>
            </p:cNvSpPr>
            <p:nvPr/>
          </p:nvSpPr>
          <p:spPr bwMode="auto">
            <a:xfrm>
              <a:off x="8515350" y="2109291"/>
              <a:ext cx="444500" cy="2749550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098" name="Rectangle 274"/>
            <p:cNvSpPr>
              <a:spLocks noChangeArrowheads="1"/>
            </p:cNvSpPr>
            <p:nvPr/>
          </p:nvSpPr>
          <p:spPr bwMode="auto">
            <a:xfrm>
              <a:off x="8649550" y="3398797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anose="020B0604020202020204" pitchFamily="34" charset="0"/>
                </a:rPr>
                <a:t>83</a:t>
              </a:r>
              <a:endParaRPr kumimoji="0" lang="uk-UA" altLang="uk-UA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099" name="Rectangle 275"/>
            <p:cNvSpPr>
              <a:spLocks noChangeArrowheads="1"/>
            </p:cNvSpPr>
            <p:nvPr/>
          </p:nvSpPr>
          <p:spPr bwMode="auto">
            <a:xfrm>
              <a:off x="8515350" y="1561604"/>
              <a:ext cx="444500" cy="54768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100" name="Rectangle 276"/>
            <p:cNvSpPr>
              <a:spLocks noChangeArrowheads="1"/>
            </p:cNvSpPr>
            <p:nvPr/>
          </p:nvSpPr>
          <p:spPr bwMode="auto">
            <a:xfrm>
              <a:off x="8515350" y="1561604"/>
              <a:ext cx="444500" cy="547688"/>
            </a:xfrm>
            <a:prstGeom prst="rect">
              <a:avLst/>
            </a:prstGeom>
            <a:noFill/>
            <a:ln w="3175" cap="flat">
              <a:solidFill>
                <a:srgbClr val="64646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101" name="Rectangle 277"/>
            <p:cNvSpPr>
              <a:spLocks noChangeArrowheads="1"/>
            </p:cNvSpPr>
            <p:nvPr/>
          </p:nvSpPr>
          <p:spPr bwMode="auto">
            <a:xfrm>
              <a:off x="8651708" y="1744166"/>
              <a:ext cx="19877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uk-UA" altLang="uk-UA" sz="14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17</a:t>
              </a:r>
            </a:p>
          </p:txBody>
        </p:sp>
        <p:sp>
          <p:nvSpPr>
            <p:cNvPr id="165102" name="Rectangle 278"/>
            <p:cNvSpPr>
              <a:spLocks noChangeArrowheads="1"/>
            </p:cNvSpPr>
            <p:nvPr/>
          </p:nvSpPr>
          <p:spPr bwMode="auto">
            <a:xfrm>
              <a:off x="1760538" y="3018929"/>
              <a:ext cx="931863" cy="3794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pic>
          <p:nvPicPr>
            <p:cNvPr id="165143" name="Picture 279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2125" y="3023691"/>
              <a:ext cx="928688" cy="373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5103" name="Rectangle 280"/>
            <p:cNvSpPr>
              <a:spLocks noChangeArrowheads="1"/>
            </p:cNvSpPr>
            <p:nvPr/>
          </p:nvSpPr>
          <p:spPr bwMode="auto">
            <a:xfrm>
              <a:off x="1760537" y="2720785"/>
              <a:ext cx="1000125" cy="67755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104" name="Rectangle 281"/>
            <p:cNvSpPr>
              <a:spLocks noChangeArrowheads="1"/>
            </p:cNvSpPr>
            <p:nvPr/>
          </p:nvSpPr>
          <p:spPr bwMode="auto">
            <a:xfrm>
              <a:off x="1699411" y="2755751"/>
              <a:ext cx="1069189" cy="760065"/>
            </a:xfrm>
            <a:prstGeom prst="rect">
              <a:avLst/>
            </a:prstGeom>
            <a:noFill/>
            <a:ln w="3175" cap="flat">
              <a:solidFill>
                <a:srgbClr val="E0E0E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106" name="Rectangle 283"/>
            <p:cNvSpPr>
              <a:spLocks noChangeArrowheads="1"/>
            </p:cNvSpPr>
            <p:nvPr/>
          </p:nvSpPr>
          <p:spPr bwMode="auto">
            <a:xfrm>
              <a:off x="1747352" y="2821009"/>
              <a:ext cx="85725" cy="87313"/>
            </a:xfrm>
            <a:prstGeom prst="rect">
              <a:avLst/>
            </a:prstGeom>
            <a:solidFill>
              <a:schemeClr val="accent2"/>
            </a:solidFill>
            <a:ln w="3175" cap="flat">
              <a:solidFill>
                <a:srgbClr val="B0A79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107" name="Rectangle 284"/>
            <p:cNvSpPr>
              <a:spLocks noChangeArrowheads="1"/>
            </p:cNvSpPr>
            <p:nvPr/>
          </p:nvSpPr>
          <p:spPr bwMode="auto">
            <a:xfrm>
              <a:off x="1873882" y="2801125"/>
              <a:ext cx="84675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defRPr/>
              </a:pPr>
              <a:r>
                <a:rPr lang="uk-UA" sz="900" dirty="0">
                  <a:cs typeface="Arial" pitchFamily="34" charset="0"/>
                </a:rPr>
                <a:t>Интернет </a:t>
              </a:r>
              <a:endParaRPr lang="en-US" sz="900" dirty="0" smtClean="0">
                <a:cs typeface="Arial" pitchFamily="34" charset="0"/>
              </a:endParaRPr>
            </a:p>
            <a:p>
              <a:pPr>
                <a:spcBef>
                  <a:spcPts val="0"/>
                </a:spcBef>
                <a:defRPr/>
              </a:pPr>
              <a:r>
                <a:rPr lang="uk-UA" sz="900" dirty="0" smtClean="0">
                  <a:cs typeface="Arial" pitchFamily="34" charset="0"/>
                </a:rPr>
                <a:t>продажи</a:t>
              </a:r>
              <a:endParaRPr lang="uk-UA" sz="900" dirty="0">
                <a:cs typeface="Arial" pitchFamily="34" charset="0"/>
              </a:endParaRPr>
            </a:p>
          </p:txBody>
        </p:sp>
        <p:sp>
          <p:nvSpPr>
            <p:cNvPr id="165109" name="Rectangle 286"/>
            <p:cNvSpPr>
              <a:spLocks noChangeArrowheads="1"/>
            </p:cNvSpPr>
            <p:nvPr/>
          </p:nvSpPr>
          <p:spPr bwMode="auto">
            <a:xfrm>
              <a:off x="1740126" y="3218398"/>
              <a:ext cx="85725" cy="85725"/>
            </a:xfrm>
            <a:prstGeom prst="rect">
              <a:avLst/>
            </a:prstGeom>
            <a:solidFill>
              <a:schemeClr val="accent3"/>
            </a:solidFill>
            <a:ln w="3175" cap="flat">
              <a:solidFill>
                <a:srgbClr val="B0A79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/>
            </a:p>
          </p:txBody>
        </p:sp>
        <p:sp>
          <p:nvSpPr>
            <p:cNvPr id="165110" name="Rectangle 287"/>
            <p:cNvSpPr>
              <a:spLocks noChangeArrowheads="1"/>
            </p:cNvSpPr>
            <p:nvPr/>
          </p:nvSpPr>
          <p:spPr bwMode="auto">
            <a:xfrm>
              <a:off x="1881413" y="3200936"/>
              <a:ext cx="83195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defRPr/>
              </a:pPr>
              <a:r>
                <a:rPr lang="uk-UA" sz="900" dirty="0">
                  <a:cs typeface="Arial" pitchFamily="34" charset="0"/>
                </a:rPr>
                <a:t>Традиционные </a:t>
              </a:r>
              <a:endParaRPr lang="en-US" sz="900" dirty="0" smtClean="0">
                <a:cs typeface="Arial" pitchFamily="34" charset="0"/>
              </a:endParaRPr>
            </a:p>
            <a:p>
              <a:pPr>
                <a:spcBef>
                  <a:spcPts val="0"/>
                </a:spcBef>
                <a:defRPr/>
              </a:pPr>
              <a:r>
                <a:rPr lang="uk-UA" sz="900" dirty="0" smtClean="0">
                  <a:cs typeface="Arial" pitchFamily="34" charset="0"/>
                </a:rPr>
                <a:t>продажи</a:t>
              </a:r>
              <a:endParaRPr lang="uk-UA" sz="900" dirty="0">
                <a:cs typeface="Arial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6446" y="786903"/>
              <a:ext cx="9082534" cy="62475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uk-UA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TextBox 26"/>
            <p:cNvSpPr txBox="1"/>
            <p:nvPr/>
          </p:nvSpPr>
          <p:spPr bwMode="gray">
            <a:xfrm>
              <a:off x="297558" y="1094623"/>
              <a:ext cx="129582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1100" dirty="0" smtClean="0">
                  <a:latin typeface="Arial" pitchFamily="34" charset="0"/>
                  <a:cs typeface="Arial" pitchFamily="34" charset="0"/>
                </a:rPr>
                <a:t>Total</a:t>
              </a:r>
              <a:endParaRPr lang="uk-UA" sz="11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Freeform 30"/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3353361" y="951377"/>
              <a:ext cx="375859" cy="381883"/>
            </a:xfrm>
            <a:custGeom>
              <a:avLst/>
              <a:gdLst>
                <a:gd name="T0" fmla="*/ 2147483647 w 2080"/>
                <a:gd name="T1" fmla="*/ 2147483647 h 2113"/>
                <a:gd name="T2" fmla="*/ 2147483647 w 2080"/>
                <a:gd name="T3" fmla="*/ 2147483647 h 2113"/>
                <a:gd name="T4" fmla="*/ 2147483647 w 2080"/>
                <a:gd name="T5" fmla="*/ 2147483647 h 2113"/>
                <a:gd name="T6" fmla="*/ 2147483647 w 2080"/>
                <a:gd name="T7" fmla="*/ 2147483647 h 2113"/>
                <a:gd name="T8" fmla="*/ 2147483647 w 2080"/>
                <a:gd name="T9" fmla="*/ 0 h 2113"/>
                <a:gd name="T10" fmla="*/ 2147483647 w 2080"/>
                <a:gd name="T11" fmla="*/ 2147483647 h 2113"/>
                <a:gd name="T12" fmla="*/ 2147483647 w 2080"/>
                <a:gd name="T13" fmla="*/ 2147483647 h 2113"/>
                <a:gd name="T14" fmla="*/ 2147483647 w 2080"/>
                <a:gd name="T15" fmla="*/ 2147483647 h 2113"/>
                <a:gd name="T16" fmla="*/ 2147483647 w 2080"/>
                <a:gd name="T17" fmla="*/ 2147483647 h 2113"/>
                <a:gd name="T18" fmla="*/ 2147483647 w 2080"/>
                <a:gd name="T19" fmla="*/ 2147483647 h 2113"/>
                <a:gd name="T20" fmla="*/ 2147483647 w 2080"/>
                <a:gd name="T21" fmla="*/ 2147483647 h 2113"/>
                <a:gd name="T22" fmla="*/ 0 w 2080"/>
                <a:gd name="T23" fmla="*/ 2147483647 h 2113"/>
                <a:gd name="T24" fmla="*/ 2147483647 w 2080"/>
                <a:gd name="T25" fmla="*/ 2147483647 h 2113"/>
                <a:gd name="T26" fmla="*/ 2147483647 w 2080"/>
                <a:gd name="T27" fmla="*/ 2147483647 h 2113"/>
                <a:gd name="T28" fmla="*/ 2147483647 w 2080"/>
                <a:gd name="T29" fmla="*/ 2147483647 h 2113"/>
                <a:gd name="T30" fmla="*/ 2147483647 w 2080"/>
                <a:gd name="T31" fmla="*/ 2147483647 h 2113"/>
                <a:gd name="T32" fmla="*/ 2147483647 w 2080"/>
                <a:gd name="T33" fmla="*/ 2147483647 h 2113"/>
                <a:gd name="T34" fmla="*/ 2147483647 w 2080"/>
                <a:gd name="T35" fmla="*/ 2147483647 h 2113"/>
                <a:gd name="T36" fmla="*/ 2147483647 w 2080"/>
                <a:gd name="T37" fmla="*/ 2147483647 h 2113"/>
                <a:gd name="T38" fmla="*/ 2147483647 w 2080"/>
                <a:gd name="T39" fmla="*/ 2147483647 h 2113"/>
                <a:gd name="T40" fmla="*/ 2147483647 w 2080"/>
                <a:gd name="T41" fmla="*/ 2147483647 h 2113"/>
                <a:gd name="T42" fmla="*/ 2147483647 w 2080"/>
                <a:gd name="T43" fmla="*/ 2147483647 h 2113"/>
                <a:gd name="T44" fmla="*/ 2147483647 w 2080"/>
                <a:gd name="T45" fmla="*/ 2147483647 h 2113"/>
                <a:gd name="T46" fmla="*/ 2147483647 w 2080"/>
                <a:gd name="T47" fmla="*/ 2147483647 h 2113"/>
                <a:gd name="T48" fmla="*/ 2147483647 w 2080"/>
                <a:gd name="T49" fmla="*/ 2147483647 h 2113"/>
                <a:gd name="T50" fmla="*/ 2147483647 w 2080"/>
                <a:gd name="T51" fmla="*/ 2147483647 h 2113"/>
                <a:gd name="T52" fmla="*/ 2147483647 w 2080"/>
                <a:gd name="T53" fmla="*/ 2147483647 h 2113"/>
                <a:gd name="T54" fmla="*/ 2147483647 w 2080"/>
                <a:gd name="T55" fmla="*/ 2147483647 h 2113"/>
                <a:gd name="T56" fmla="*/ 2147483647 w 2080"/>
                <a:gd name="T57" fmla="*/ 2147483647 h 2113"/>
                <a:gd name="T58" fmla="*/ 2147483647 w 2080"/>
                <a:gd name="T59" fmla="*/ 2147483647 h 2113"/>
                <a:gd name="T60" fmla="*/ 2147483647 w 2080"/>
                <a:gd name="T61" fmla="*/ 2147483647 h 2113"/>
                <a:gd name="T62" fmla="*/ 2147483647 w 2080"/>
                <a:gd name="T63" fmla="*/ 2147483647 h 2113"/>
                <a:gd name="T64" fmla="*/ 2147483647 w 2080"/>
                <a:gd name="T65" fmla="*/ 2147483647 h 211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080" h="2113">
                  <a:moveTo>
                    <a:pt x="1760" y="1633"/>
                  </a:moveTo>
                  <a:cubicBezTo>
                    <a:pt x="1716" y="1633"/>
                    <a:pt x="1680" y="1669"/>
                    <a:pt x="1680" y="1713"/>
                  </a:cubicBezTo>
                  <a:cubicBezTo>
                    <a:pt x="1680" y="1757"/>
                    <a:pt x="1716" y="1793"/>
                    <a:pt x="1760" y="1793"/>
                  </a:cubicBezTo>
                  <a:cubicBezTo>
                    <a:pt x="1804" y="1793"/>
                    <a:pt x="1840" y="1757"/>
                    <a:pt x="1840" y="1713"/>
                  </a:cubicBezTo>
                  <a:cubicBezTo>
                    <a:pt x="1840" y="1669"/>
                    <a:pt x="1804" y="1633"/>
                    <a:pt x="1760" y="1633"/>
                  </a:cubicBezTo>
                  <a:close/>
                  <a:moveTo>
                    <a:pt x="388" y="5"/>
                  </a:moveTo>
                  <a:cubicBezTo>
                    <a:pt x="810" y="426"/>
                    <a:pt x="810" y="426"/>
                    <a:pt x="810" y="426"/>
                  </a:cubicBezTo>
                  <a:cubicBezTo>
                    <a:pt x="841" y="405"/>
                    <a:pt x="879" y="393"/>
                    <a:pt x="920" y="393"/>
                  </a:cubicBezTo>
                  <a:cubicBezTo>
                    <a:pt x="975" y="393"/>
                    <a:pt x="1025" y="415"/>
                    <a:pt x="1061" y="451"/>
                  </a:cubicBezTo>
                  <a:cubicBezTo>
                    <a:pt x="1738" y="0"/>
                    <a:pt x="1738" y="0"/>
                    <a:pt x="1738" y="0"/>
                  </a:cubicBezTo>
                  <a:cubicBezTo>
                    <a:pt x="1782" y="66"/>
                    <a:pt x="1782" y="66"/>
                    <a:pt x="1782" y="66"/>
                  </a:cubicBezTo>
                  <a:cubicBezTo>
                    <a:pt x="1105" y="517"/>
                    <a:pt x="1105" y="517"/>
                    <a:pt x="1105" y="517"/>
                  </a:cubicBezTo>
                  <a:cubicBezTo>
                    <a:pt x="1110" y="529"/>
                    <a:pt x="1114" y="541"/>
                    <a:pt x="1116" y="553"/>
                  </a:cubicBezTo>
                  <a:cubicBezTo>
                    <a:pt x="2080" y="553"/>
                    <a:pt x="2080" y="553"/>
                    <a:pt x="2080" y="553"/>
                  </a:cubicBezTo>
                  <a:cubicBezTo>
                    <a:pt x="2080" y="2033"/>
                    <a:pt x="2080" y="2033"/>
                    <a:pt x="2080" y="2033"/>
                  </a:cubicBezTo>
                  <a:cubicBezTo>
                    <a:pt x="1920" y="2033"/>
                    <a:pt x="1920" y="2033"/>
                    <a:pt x="1920" y="2033"/>
                  </a:cubicBezTo>
                  <a:cubicBezTo>
                    <a:pt x="1920" y="2113"/>
                    <a:pt x="1920" y="2113"/>
                    <a:pt x="1920" y="2113"/>
                  </a:cubicBezTo>
                  <a:cubicBezTo>
                    <a:pt x="1813" y="2113"/>
                    <a:pt x="1707" y="2113"/>
                    <a:pt x="1600" y="2113"/>
                  </a:cubicBezTo>
                  <a:cubicBezTo>
                    <a:pt x="1600" y="2033"/>
                    <a:pt x="1600" y="2033"/>
                    <a:pt x="1600" y="2033"/>
                  </a:cubicBezTo>
                  <a:cubicBezTo>
                    <a:pt x="480" y="2033"/>
                    <a:pt x="480" y="2033"/>
                    <a:pt x="480" y="2033"/>
                  </a:cubicBezTo>
                  <a:cubicBezTo>
                    <a:pt x="480" y="2113"/>
                    <a:pt x="480" y="2113"/>
                    <a:pt x="480" y="2113"/>
                  </a:cubicBezTo>
                  <a:cubicBezTo>
                    <a:pt x="160" y="2113"/>
                    <a:pt x="160" y="2113"/>
                    <a:pt x="160" y="2113"/>
                  </a:cubicBezTo>
                  <a:cubicBezTo>
                    <a:pt x="160" y="2033"/>
                    <a:pt x="160" y="2033"/>
                    <a:pt x="160" y="2033"/>
                  </a:cubicBezTo>
                  <a:cubicBezTo>
                    <a:pt x="0" y="2033"/>
                    <a:pt x="0" y="2033"/>
                    <a:pt x="0" y="2033"/>
                  </a:cubicBezTo>
                  <a:cubicBezTo>
                    <a:pt x="0" y="553"/>
                    <a:pt x="0" y="553"/>
                    <a:pt x="0" y="553"/>
                  </a:cubicBezTo>
                  <a:cubicBezTo>
                    <a:pt x="724" y="553"/>
                    <a:pt x="724" y="553"/>
                    <a:pt x="724" y="553"/>
                  </a:cubicBezTo>
                  <a:cubicBezTo>
                    <a:pt x="729" y="527"/>
                    <a:pt x="739" y="504"/>
                    <a:pt x="753" y="483"/>
                  </a:cubicBezTo>
                  <a:cubicBezTo>
                    <a:pt x="332" y="61"/>
                    <a:pt x="332" y="61"/>
                    <a:pt x="332" y="61"/>
                  </a:cubicBezTo>
                  <a:lnTo>
                    <a:pt x="388" y="5"/>
                  </a:lnTo>
                  <a:close/>
                  <a:moveTo>
                    <a:pt x="1760" y="1393"/>
                  </a:moveTo>
                  <a:cubicBezTo>
                    <a:pt x="1716" y="1393"/>
                    <a:pt x="1680" y="1429"/>
                    <a:pt x="1680" y="1473"/>
                  </a:cubicBezTo>
                  <a:cubicBezTo>
                    <a:pt x="1680" y="1517"/>
                    <a:pt x="1716" y="1553"/>
                    <a:pt x="1760" y="1553"/>
                  </a:cubicBezTo>
                  <a:cubicBezTo>
                    <a:pt x="1804" y="1553"/>
                    <a:pt x="1840" y="1517"/>
                    <a:pt x="1840" y="1473"/>
                  </a:cubicBezTo>
                  <a:cubicBezTo>
                    <a:pt x="1840" y="1429"/>
                    <a:pt x="1804" y="1393"/>
                    <a:pt x="1760" y="1393"/>
                  </a:cubicBezTo>
                  <a:close/>
                  <a:moveTo>
                    <a:pt x="1600" y="1153"/>
                  </a:moveTo>
                  <a:cubicBezTo>
                    <a:pt x="1600" y="1233"/>
                    <a:pt x="1600" y="1233"/>
                    <a:pt x="1600" y="1233"/>
                  </a:cubicBezTo>
                  <a:cubicBezTo>
                    <a:pt x="1920" y="1233"/>
                    <a:pt x="1920" y="1233"/>
                    <a:pt x="1920" y="1233"/>
                  </a:cubicBezTo>
                  <a:cubicBezTo>
                    <a:pt x="1920" y="1153"/>
                    <a:pt x="1920" y="1153"/>
                    <a:pt x="1920" y="1153"/>
                  </a:cubicBezTo>
                  <a:lnTo>
                    <a:pt x="1600" y="1153"/>
                  </a:lnTo>
                  <a:close/>
                  <a:moveTo>
                    <a:pt x="1600" y="993"/>
                  </a:moveTo>
                  <a:cubicBezTo>
                    <a:pt x="1600" y="1073"/>
                    <a:pt x="1600" y="1073"/>
                    <a:pt x="1600" y="1073"/>
                  </a:cubicBezTo>
                  <a:cubicBezTo>
                    <a:pt x="1920" y="1073"/>
                    <a:pt x="1920" y="1073"/>
                    <a:pt x="1920" y="1073"/>
                  </a:cubicBezTo>
                  <a:cubicBezTo>
                    <a:pt x="1920" y="993"/>
                    <a:pt x="1920" y="993"/>
                    <a:pt x="1920" y="993"/>
                  </a:cubicBezTo>
                  <a:lnTo>
                    <a:pt x="1600" y="993"/>
                  </a:lnTo>
                  <a:close/>
                  <a:moveTo>
                    <a:pt x="1600" y="833"/>
                  </a:moveTo>
                  <a:cubicBezTo>
                    <a:pt x="1600" y="913"/>
                    <a:pt x="1600" y="913"/>
                    <a:pt x="1600" y="913"/>
                  </a:cubicBezTo>
                  <a:cubicBezTo>
                    <a:pt x="1920" y="913"/>
                    <a:pt x="1920" y="913"/>
                    <a:pt x="1920" y="913"/>
                  </a:cubicBezTo>
                  <a:cubicBezTo>
                    <a:pt x="1920" y="833"/>
                    <a:pt x="1920" y="833"/>
                    <a:pt x="1920" y="833"/>
                  </a:cubicBezTo>
                  <a:lnTo>
                    <a:pt x="1600" y="833"/>
                  </a:lnTo>
                  <a:close/>
                  <a:moveTo>
                    <a:pt x="400" y="713"/>
                  </a:moveTo>
                  <a:cubicBezTo>
                    <a:pt x="268" y="713"/>
                    <a:pt x="160" y="821"/>
                    <a:pt x="160" y="953"/>
                  </a:cubicBezTo>
                  <a:cubicBezTo>
                    <a:pt x="160" y="1633"/>
                    <a:pt x="160" y="1633"/>
                    <a:pt x="160" y="1633"/>
                  </a:cubicBezTo>
                  <a:cubicBezTo>
                    <a:pt x="160" y="1765"/>
                    <a:pt x="268" y="1873"/>
                    <a:pt x="400" y="1873"/>
                  </a:cubicBezTo>
                  <a:cubicBezTo>
                    <a:pt x="1280" y="1873"/>
                    <a:pt x="1280" y="1873"/>
                    <a:pt x="1280" y="1873"/>
                  </a:cubicBezTo>
                  <a:cubicBezTo>
                    <a:pt x="1412" y="1873"/>
                    <a:pt x="1520" y="1765"/>
                    <a:pt x="1520" y="1633"/>
                  </a:cubicBezTo>
                  <a:cubicBezTo>
                    <a:pt x="1520" y="953"/>
                    <a:pt x="1520" y="953"/>
                    <a:pt x="1520" y="953"/>
                  </a:cubicBezTo>
                  <a:cubicBezTo>
                    <a:pt x="1520" y="821"/>
                    <a:pt x="1412" y="713"/>
                    <a:pt x="1280" y="713"/>
                  </a:cubicBezTo>
                  <a:lnTo>
                    <a:pt x="400" y="713"/>
                  </a:lnTo>
                  <a:close/>
                  <a:moveTo>
                    <a:pt x="1280" y="793"/>
                  </a:moveTo>
                  <a:cubicBezTo>
                    <a:pt x="1368" y="793"/>
                    <a:pt x="1440" y="865"/>
                    <a:pt x="1440" y="953"/>
                  </a:cubicBezTo>
                  <a:cubicBezTo>
                    <a:pt x="1440" y="1633"/>
                    <a:pt x="1440" y="1633"/>
                    <a:pt x="1440" y="1633"/>
                  </a:cubicBezTo>
                  <a:cubicBezTo>
                    <a:pt x="1440" y="1721"/>
                    <a:pt x="1368" y="1793"/>
                    <a:pt x="1280" y="1793"/>
                  </a:cubicBezTo>
                  <a:cubicBezTo>
                    <a:pt x="400" y="1793"/>
                    <a:pt x="400" y="1793"/>
                    <a:pt x="400" y="1793"/>
                  </a:cubicBezTo>
                  <a:cubicBezTo>
                    <a:pt x="312" y="1793"/>
                    <a:pt x="240" y="1721"/>
                    <a:pt x="240" y="1633"/>
                  </a:cubicBezTo>
                  <a:cubicBezTo>
                    <a:pt x="240" y="953"/>
                    <a:pt x="240" y="953"/>
                    <a:pt x="240" y="953"/>
                  </a:cubicBezTo>
                  <a:cubicBezTo>
                    <a:pt x="240" y="865"/>
                    <a:pt x="312" y="793"/>
                    <a:pt x="400" y="793"/>
                  </a:cubicBezTo>
                  <a:lnTo>
                    <a:pt x="1280" y="793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384" tIns="45692" rIns="91384" bIns="45692"/>
            <a:lstStyle/>
            <a:p>
              <a:endParaRPr lang="en-US"/>
            </a:p>
          </p:txBody>
        </p:sp>
        <p:sp>
          <p:nvSpPr>
            <p:cNvPr id="23" name="Freeform 112"/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4749088" y="961033"/>
              <a:ext cx="269748" cy="369291"/>
            </a:xfrm>
            <a:custGeom>
              <a:avLst/>
              <a:gdLst>
                <a:gd name="T0" fmla="*/ 2147483647 w 1520"/>
                <a:gd name="T1" fmla="*/ 2147483647 h 2080"/>
                <a:gd name="T2" fmla="*/ 2147483647 w 1520"/>
                <a:gd name="T3" fmla="*/ 2147483647 h 2080"/>
                <a:gd name="T4" fmla="*/ 2147483647 w 1520"/>
                <a:gd name="T5" fmla="*/ 2147483647 h 2080"/>
                <a:gd name="T6" fmla="*/ 2147483647 w 1520"/>
                <a:gd name="T7" fmla="*/ 2147483647 h 2080"/>
                <a:gd name="T8" fmla="*/ 2147483647 w 1520"/>
                <a:gd name="T9" fmla="*/ 2147483647 h 2080"/>
                <a:gd name="T10" fmla="*/ 2147483647 w 1520"/>
                <a:gd name="T11" fmla="*/ 0 h 2080"/>
                <a:gd name="T12" fmla="*/ 2147483647 w 1520"/>
                <a:gd name="T13" fmla="*/ 0 h 2080"/>
                <a:gd name="T14" fmla="*/ 2147483647 w 1520"/>
                <a:gd name="T15" fmla="*/ 2147483647 h 2080"/>
                <a:gd name="T16" fmla="*/ 2147483647 w 1520"/>
                <a:gd name="T17" fmla="*/ 2147483647 h 2080"/>
                <a:gd name="T18" fmla="*/ 2147483647 w 1520"/>
                <a:gd name="T19" fmla="*/ 0 h 2080"/>
                <a:gd name="T20" fmla="*/ 2147483647 w 1520"/>
                <a:gd name="T21" fmla="*/ 0 h 2080"/>
                <a:gd name="T22" fmla="*/ 0 w 1520"/>
                <a:gd name="T23" fmla="*/ 0 h 2080"/>
                <a:gd name="T24" fmla="*/ 0 w 1520"/>
                <a:gd name="T25" fmla="*/ 2147483647 h 2080"/>
                <a:gd name="T26" fmla="*/ 2147483647 w 1520"/>
                <a:gd name="T27" fmla="*/ 2147483647 h 2080"/>
                <a:gd name="T28" fmla="*/ 2147483647 w 1520"/>
                <a:gd name="T29" fmla="*/ 0 h 2080"/>
                <a:gd name="T30" fmla="*/ 0 w 1520"/>
                <a:gd name="T31" fmla="*/ 2147483647 h 2080"/>
                <a:gd name="T32" fmla="*/ 0 w 1520"/>
                <a:gd name="T33" fmla="*/ 2147483647 h 2080"/>
                <a:gd name="T34" fmla="*/ 2147483647 w 1520"/>
                <a:gd name="T35" fmla="*/ 2147483647 h 2080"/>
                <a:gd name="T36" fmla="*/ 2147483647 w 1520"/>
                <a:gd name="T37" fmla="*/ 2147483647 h 2080"/>
                <a:gd name="T38" fmla="*/ 0 w 1520"/>
                <a:gd name="T39" fmla="*/ 2147483647 h 2080"/>
                <a:gd name="T40" fmla="*/ 2147483647 w 1520"/>
                <a:gd name="T41" fmla="*/ 2147483647 h 2080"/>
                <a:gd name="T42" fmla="*/ 2147483647 w 1520"/>
                <a:gd name="T43" fmla="*/ 2147483647 h 2080"/>
                <a:gd name="T44" fmla="*/ 2147483647 w 1520"/>
                <a:gd name="T45" fmla="*/ 2147483647 h 2080"/>
                <a:gd name="T46" fmla="*/ 2147483647 w 1520"/>
                <a:gd name="T47" fmla="*/ 2147483647 h 2080"/>
                <a:gd name="T48" fmla="*/ 2147483647 w 1520"/>
                <a:gd name="T49" fmla="*/ 2147483647 h 2080"/>
                <a:gd name="T50" fmla="*/ 2147483647 w 1520"/>
                <a:gd name="T51" fmla="*/ 2147483647 h 2080"/>
                <a:gd name="T52" fmla="*/ 2147483647 w 1520"/>
                <a:gd name="T53" fmla="*/ 2147483647 h 2080"/>
                <a:gd name="T54" fmla="*/ 2147483647 w 1520"/>
                <a:gd name="T55" fmla="*/ 2147483647 h 2080"/>
                <a:gd name="T56" fmla="*/ 2147483647 w 1520"/>
                <a:gd name="T57" fmla="*/ 2147483647 h 2080"/>
                <a:gd name="T58" fmla="*/ 2147483647 w 1520"/>
                <a:gd name="T59" fmla="*/ 2147483647 h 2080"/>
                <a:gd name="T60" fmla="*/ 2147483647 w 1520"/>
                <a:gd name="T61" fmla="*/ 2147483647 h 2080"/>
                <a:gd name="T62" fmla="*/ 2147483647 w 1520"/>
                <a:gd name="T63" fmla="*/ 2147483647 h 2080"/>
                <a:gd name="T64" fmla="*/ 2147483647 w 1520"/>
                <a:gd name="T65" fmla="*/ 2147483647 h 2080"/>
                <a:gd name="T66" fmla="*/ 2147483647 w 1520"/>
                <a:gd name="T67" fmla="*/ 2147483647 h 2080"/>
                <a:gd name="T68" fmla="*/ 2147483647 w 1520"/>
                <a:gd name="T69" fmla="*/ 2147483647 h 2080"/>
                <a:gd name="T70" fmla="*/ 2147483647 w 1520"/>
                <a:gd name="T71" fmla="*/ 2147483647 h 2080"/>
                <a:gd name="T72" fmla="*/ 2147483647 w 1520"/>
                <a:gd name="T73" fmla="*/ 2147483647 h 2080"/>
                <a:gd name="T74" fmla="*/ 2147483647 w 1520"/>
                <a:gd name="T75" fmla="*/ 2147483647 h 2080"/>
                <a:gd name="T76" fmla="*/ 2147483647 w 1520"/>
                <a:gd name="T77" fmla="*/ 2147483647 h 2080"/>
                <a:gd name="T78" fmla="*/ 2147483647 w 1520"/>
                <a:gd name="T79" fmla="*/ 2147483647 h 2080"/>
                <a:gd name="T80" fmla="*/ 2147483647 w 1520"/>
                <a:gd name="T81" fmla="*/ 2147483647 h 2080"/>
                <a:gd name="T82" fmla="*/ 2147483647 w 1520"/>
                <a:gd name="T83" fmla="*/ 2147483647 h 2080"/>
                <a:gd name="T84" fmla="*/ 2147483647 w 1520"/>
                <a:gd name="T85" fmla="*/ 2147483647 h 2080"/>
                <a:gd name="T86" fmla="*/ 2147483647 w 1520"/>
                <a:gd name="T87" fmla="*/ 2147483647 h 2080"/>
                <a:gd name="T88" fmla="*/ 2147483647 w 1520"/>
                <a:gd name="T89" fmla="*/ 2147483647 h 208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520" h="2080">
                  <a:moveTo>
                    <a:pt x="1080" y="140"/>
                  </a:moveTo>
                  <a:cubicBezTo>
                    <a:pt x="1124" y="140"/>
                    <a:pt x="1160" y="176"/>
                    <a:pt x="1160" y="220"/>
                  </a:cubicBezTo>
                  <a:cubicBezTo>
                    <a:pt x="1160" y="264"/>
                    <a:pt x="1124" y="300"/>
                    <a:pt x="1080" y="300"/>
                  </a:cubicBezTo>
                  <a:cubicBezTo>
                    <a:pt x="1036" y="300"/>
                    <a:pt x="1000" y="264"/>
                    <a:pt x="1000" y="220"/>
                  </a:cubicBezTo>
                  <a:cubicBezTo>
                    <a:pt x="1000" y="176"/>
                    <a:pt x="1036" y="140"/>
                    <a:pt x="1080" y="140"/>
                  </a:cubicBezTo>
                  <a:close/>
                  <a:moveTo>
                    <a:pt x="1520" y="0"/>
                  </a:moveTo>
                  <a:cubicBezTo>
                    <a:pt x="520" y="0"/>
                    <a:pt x="520" y="0"/>
                    <a:pt x="520" y="0"/>
                  </a:cubicBezTo>
                  <a:cubicBezTo>
                    <a:pt x="520" y="360"/>
                    <a:pt x="520" y="360"/>
                    <a:pt x="520" y="360"/>
                  </a:cubicBezTo>
                  <a:cubicBezTo>
                    <a:pt x="1520" y="360"/>
                    <a:pt x="1520" y="360"/>
                    <a:pt x="1520" y="360"/>
                  </a:cubicBezTo>
                  <a:lnTo>
                    <a:pt x="1520" y="0"/>
                  </a:lnTo>
                  <a:close/>
                  <a:moveTo>
                    <a:pt x="44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60"/>
                    <a:pt x="0" y="360"/>
                    <a:pt x="0" y="360"/>
                  </a:cubicBezTo>
                  <a:cubicBezTo>
                    <a:pt x="440" y="360"/>
                    <a:pt x="440" y="360"/>
                    <a:pt x="440" y="360"/>
                  </a:cubicBezTo>
                  <a:lnTo>
                    <a:pt x="440" y="0"/>
                  </a:lnTo>
                  <a:close/>
                  <a:moveTo>
                    <a:pt x="0" y="440"/>
                  </a:moveTo>
                  <a:cubicBezTo>
                    <a:pt x="0" y="2080"/>
                    <a:pt x="0" y="2080"/>
                    <a:pt x="0" y="2080"/>
                  </a:cubicBezTo>
                  <a:cubicBezTo>
                    <a:pt x="1520" y="2080"/>
                    <a:pt x="1520" y="2080"/>
                    <a:pt x="1520" y="2080"/>
                  </a:cubicBezTo>
                  <a:cubicBezTo>
                    <a:pt x="1520" y="440"/>
                    <a:pt x="1520" y="440"/>
                    <a:pt x="1520" y="440"/>
                  </a:cubicBezTo>
                  <a:lnTo>
                    <a:pt x="0" y="440"/>
                  </a:lnTo>
                  <a:close/>
                  <a:moveTo>
                    <a:pt x="1320" y="1240"/>
                  </a:moveTo>
                  <a:cubicBezTo>
                    <a:pt x="1320" y="1549"/>
                    <a:pt x="1069" y="1800"/>
                    <a:pt x="760" y="1800"/>
                  </a:cubicBezTo>
                  <a:cubicBezTo>
                    <a:pt x="451" y="1800"/>
                    <a:pt x="200" y="1549"/>
                    <a:pt x="200" y="1240"/>
                  </a:cubicBezTo>
                  <a:cubicBezTo>
                    <a:pt x="200" y="931"/>
                    <a:pt x="451" y="680"/>
                    <a:pt x="760" y="680"/>
                  </a:cubicBezTo>
                  <a:cubicBezTo>
                    <a:pt x="1069" y="680"/>
                    <a:pt x="1320" y="931"/>
                    <a:pt x="1320" y="1240"/>
                  </a:cubicBezTo>
                  <a:close/>
                  <a:moveTo>
                    <a:pt x="760" y="760"/>
                  </a:moveTo>
                  <a:cubicBezTo>
                    <a:pt x="495" y="760"/>
                    <a:pt x="280" y="975"/>
                    <a:pt x="280" y="1240"/>
                  </a:cubicBezTo>
                  <a:cubicBezTo>
                    <a:pt x="280" y="1505"/>
                    <a:pt x="495" y="1720"/>
                    <a:pt x="760" y="1720"/>
                  </a:cubicBezTo>
                  <a:cubicBezTo>
                    <a:pt x="1025" y="1720"/>
                    <a:pt x="1240" y="1505"/>
                    <a:pt x="1240" y="1240"/>
                  </a:cubicBezTo>
                  <a:cubicBezTo>
                    <a:pt x="1240" y="975"/>
                    <a:pt x="1025" y="760"/>
                    <a:pt x="760" y="760"/>
                  </a:cubicBezTo>
                  <a:close/>
                  <a:moveTo>
                    <a:pt x="1160" y="1240"/>
                  </a:moveTo>
                  <a:cubicBezTo>
                    <a:pt x="1160" y="1461"/>
                    <a:pt x="981" y="1640"/>
                    <a:pt x="760" y="1640"/>
                  </a:cubicBezTo>
                  <a:cubicBezTo>
                    <a:pt x="539" y="1640"/>
                    <a:pt x="360" y="1461"/>
                    <a:pt x="360" y="1240"/>
                  </a:cubicBezTo>
                  <a:cubicBezTo>
                    <a:pt x="360" y="1019"/>
                    <a:pt x="539" y="840"/>
                    <a:pt x="760" y="840"/>
                  </a:cubicBezTo>
                  <a:cubicBezTo>
                    <a:pt x="981" y="840"/>
                    <a:pt x="1160" y="1019"/>
                    <a:pt x="1160" y="1240"/>
                  </a:cubicBezTo>
                  <a:close/>
                  <a:moveTo>
                    <a:pt x="1080" y="1240"/>
                  </a:moveTo>
                  <a:cubicBezTo>
                    <a:pt x="1080" y="1063"/>
                    <a:pt x="937" y="920"/>
                    <a:pt x="760" y="920"/>
                  </a:cubicBezTo>
                  <a:cubicBezTo>
                    <a:pt x="583" y="920"/>
                    <a:pt x="440" y="1063"/>
                    <a:pt x="440" y="1240"/>
                  </a:cubicBezTo>
                  <a:cubicBezTo>
                    <a:pt x="440" y="1417"/>
                    <a:pt x="583" y="1560"/>
                    <a:pt x="760" y="1560"/>
                  </a:cubicBezTo>
                  <a:cubicBezTo>
                    <a:pt x="937" y="1560"/>
                    <a:pt x="1080" y="1417"/>
                    <a:pt x="1080" y="1240"/>
                  </a:cubicBezTo>
                  <a:close/>
                  <a:moveTo>
                    <a:pt x="1280" y="140"/>
                  </a:moveTo>
                  <a:cubicBezTo>
                    <a:pt x="1324" y="140"/>
                    <a:pt x="1360" y="176"/>
                    <a:pt x="1360" y="220"/>
                  </a:cubicBezTo>
                  <a:cubicBezTo>
                    <a:pt x="1360" y="264"/>
                    <a:pt x="1324" y="300"/>
                    <a:pt x="1280" y="300"/>
                  </a:cubicBezTo>
                  <a:cubicBezTo>
                    <a:pt x="1236" y="300"/>
                    <a:pt x="1200" y="264"/>
                    <a:pt x="1200" y="220"/>
                  </a:cubicBezTo>
                  <a:cubicBezTo>
                    <a:pt x="1200" y="176"/>
                    <a:pt x="1236" y="140"/>
                    <a:pt x="1280" y="14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384" tIns="45692" rIns="91384" bIns="45692"/>
            <a:lstStyle/>
            <a:p>
              <a:endParaRPr lang="en-US"/>
            </a:p>
          </p:txBody>
        </p:sp>
        <p:sp>
          <p:nvSpPr>
            <p:cNvPr id="21" name="Freeform 102"/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6460042" y="1044427"/>
              <a:ext cx="365844" cy="263751"/>
            </a:xfrm>
            <a:custGeom>
              <a:avLst/>
              <a:gdLst>
                <a:gd name="T0" fmla="*/ 2147483647 w 2240"/>
                <a:gd name="T1" fmla="*/ 2147483647 h 1760"/>
                <a:gd name="T2" fmla="*/ 2147483647 w 2240"/>
                <a:gd name="T3" fmla="*/ 2147483647 h 1760"/>
                <a:gd name="T4" fmla="*/ 2147483647 w 2240"/>
                <a:gd name="T5" fmla="*/ 2147483647 h 1760"/>
                <a:gd name="T6" fmla="*/ 2147483647 w 2240"/>
                <a:gd name="T7" fmla="*/ 2147483647 h 1760"/>
                <a:gd name="T8" fmla="*/ 0 w 2240"/>
                <a:gd name="T9" fmla="*/ 2147483647 h 1760"/>
                <a:gd name="T10" fmla="*/ 0 w 2240"/>
                <a:gd name="T11" fmla="*/ 2147483647 h 1760"/>
                <a:gd name="T12" fmla="*/ 2147483647 w 2240"/>
                <a:gd name="T13" fmla="*/ 2147483647 h 1760"/>
                <a:gd name="T14" fmla="*/ 2147483647 w 2240"/>
                <a:gd name="T15" fmla="*/ 2147483647 h 1760"/>
                <a:gd name="T16" fmla="*/ 2147483647 w 2240"/>
                <a:gd name="T17" fmla="*/ 2147483647 h 1760"/>
                <a:gd name="T18" fmla="*/ 2147483647 w 2240"/>
                <a:gd name="T19" fmla="*/ 0 h 1760"/>
                <a:gd name="T20" fmla="*/ 2147483647 w 2240"/>
                <a:gd name="T21" fmla="*/ 0 h 1760"/>
                <a:gd name="T22" fmla="*/ 2147483647 w 2240"/>
                <a:gd name="T23" fmla="*/ 2147483647 h 1760"/>
                <a:gd name="T24" fmla="*/ 2147483647 w 2240"/>
                <a:gd name="T25" fmla="*/ 2147483647 h 1760"/>
                <a:gd name="T26" fmla="*/ 2147483647 w 2240"/>
                <a:gd name="T27" fmla="*/ 2147483647 h 1760"/>
                <a:gd name="T28" fmla="*/ 2147483647 w 2240"/>
                <a:gd name="T29" fmla="*/ 2147483647 h 1760"/>
                <a:gd name="T30" fmla="*/ 2147483647 w 2240"/>
                <a:gd name="T31" fmla="*/ 2147483647 h 1760"/>
                <a:gd name="T32" fmla="*/ 2147483647 w 2240"/>
                <a:gd name="T33" fmla="*/ 2147483647 h 1760"/>
                <a:gd name="T34" fmla="*/ 2147483647 w 2240"/>
                <a:gd name="T35" fmla="*/ 2147483647 h 1760"/>
                <a:gd name="T36" fmla="*/ 2147483647 w 2240"/>
                <a:gd name="T37" fmla="*/ 2147483647 h 1760"/>
                <a:gd name="T38" fmla="*/ 2147483647 w 2240"/>
                <a:gd name="T39" fmla="*/ 2147483647 h 1760"/>
                <a:gd name="T40" fmla="*/ 2147483647 w 2240"/>
                <a:gd name="T41" fmla="*/ 2147483647 h 1760"/>
                <a:gd name="T42" fmla="*/ 2147483647 w 2240"/>
                <a:gd name="T43" fmla="*/ 2147483647 h 1760"/>
                <a:gd name="T44" fmla="*/ 2147483647 w 2240"/>
                <a:gd name="T45" fmla="*/ 2147483647 h 1760"/>
                <a:gd name="T46" fmla="*/ 2147483647 w 2240"/>
                <a:gd name="T47" fmla="*/ 2147483647 h 1760"/>
                <a:gd name="T48" fmla="*/ 2147483647 w 2240"/>
                <a:gd name="T49" fmla="*/ 2147483647 h 1760"/>
                <a:gd name="T50" fmla="*/ 2147483647 w 2240"/>
                <a:gd name="T51" fmla="*/ 2147483647 h 1760"/>
                <a:gd name="T52" fmla="*/ 2147483647 w 2240"/>
                <a:gd name="T53" fmla="*/ 2147483647 h 1760"/>
                <a:gd name="T54" fmla="*/ 2147483647 w 2240"/>
                <a:gd name="T55" fmla="*/ 2147483647 h 1760"/>
                <a:gd name="T56" fmla="*/ 2147483647 w 2240"/>
                <a:gd name="T57" fmla="*/ 2147483647 h 1760"/>
                <a:gd name="T58" fmla="*/ 2147483647 w 2240"/>
                <a:gd name="T59" fmla="*/ 2147483647 h 1760"/>
                <a:gd name="T60" fmla="*/ 2147483647 w 2240"/>
                <a:gd name="T61" fmla="*/ 2147483647 h 1760"/>
                <a:gd name="T62" fmla="*/ 2147483647 w 2240"/>
                <a:gd name="T63" fmla="*/ 2147483647 h 17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240" h="1760">
                  <a:moveTo>
                    <a:pt x="2240" y="1360"/>
                  </a:moveTo>
                  <a:cubicBezTo>
                    <a:pt x="2240" y="1560"/>
                    <a:pt x="2240" y="1560"/>
                    <a:pt x="2240" y="1560"/>
                  </a:cubicBezTo>
                  <a:cubicBezTo>
                    <a:pt x="2240" y="1670"/>
                    <a:pt x="2150" y="1760"/>
                    <a:pt x="2040" y="1760"/>
                  </a:cubicBezTo>
                  <a:cubicBezTo>
                    <a:pt x="200" y="1760"/>
                    <a:pt x="200" y="1760"/>
                    <a:pt x="200" y="1760"/>
                  </a:cubicBezTo>
                  <a:cubicBezTo>
                    <a:pt x="90" y="1760"/>
                    <a:pt x="0" y="1670"/>
                    <a:pt x="0" y="1560"/>
                  </a:cubicBezTo>
                  <a:cubicBezTo>
                    <a:pt x="0" y="1360"/>
                    <a:pt x="0" y="1360"/>
                    <a:pt x="0" y="1360"/>
                  </a:cubicBezTo>
                  <a:cubicBezTo>
                    <a:pt x="747" y="1360"/>
                    <a:pt x="1493" y="1360"/>
                    <a:pt x="2240" y="1360"/>
                  </a:cubicBezTo>
                  <a:close/>
                  <a:moveTo>
                    <a:pt x="160" y="1280"/>
                  </a:moveTo>
                  <a:cubicBezTo>
                    <a:pt x="160" y="120"/>
                    <a:pt x="160" y="120"/>
                    <a:pt x="160" y="120"/>
                  </a:cubicBezTo>
                  <a:cubicBezTo>
                    <a:pt x="160" y="54"/>
                    <a:pt x="214" y="0"/>
                    <a:pt x="280" y="0"/>
                  </a:cubicBezTo>
                  <a:cubicBezTo>
                    <a:pt x="1960" y="0"/>
                    <a:pt x="1960" y="0"/>
                    <a:pt x="1960" y="0"/>
                  </a:cubicBezTo>
                  <a:cubicBezTo>
                    <a:pt x="2026" y="0"/>
                    <a:pt x="2080" y="54"/>
                    <a:pt x="2080" y="120"/>
                  </a:cubicBezTo>
                  <a:cubicBezTo>
                    <a:pt x="2080" y="1280"/>
                    <a:pt x="2080" y="1280"/>
                    <a:pt x="2080" y="1280"/>
                  </a:cubicBezTo>
                  <a:cubicBezTo>
                    <a:pt x="2000" y="1280"/>
                    <a:pt x="2000" y="1280"/>
                    <a:pt x="2000" y="1280"/>
                  </a:cubicBezTo>
                  <a:cubicBezTo>
                    <a:pt x="2000" y="120"/>
                    <a:pt x="2000" y="120"/>
                    <a:pt x="2000" y="120"/>
                  </a:cubicBezTo>
                  <a:cubicBezTo>
                    <a:pt x="2000" y="98"/>
                    <a:pt x="1982" y="80"/>
                    <a:pt x="1960" y="80"/>
                  </a:cubicBezTo>
                  <a:cubicBezTo>
                    <a:pt x="280" y="80"/>
                    <a:pt x="280" y="80"/>
                    <a:pt x="280" y="80"/>
                  </a:cubicBezTo>
                  <a:cubicBezTo>
                    <a:pt x="258" y="80"/>
                    <a:pt x="240" y="98"/>
                    <a:pt x="240" y="120"/>
                  </a:cubicBezTo>
                  <a:cubicBezTo>
                    <a:pt x="240" y="1280"/>
                    <a:pt x="240" y="1280"/>
                    <a:pt x="240" y="1280"/>
                  </a:cubicBezTo>
                  <a:lnTo>
                    <a:pt x="160" y="1280"/>
                  </a:lnTo>
                  <a:close/>
                  <a:moveTo>
                    <a:pt x="960" y="1600"/>
                  </a:moveTo>
                  <a:cubicBezTo>
                    <a:pt x="1280" y="1600"/>
                    <a:pt x="1280" y="1600"/>
                    <a:pt x="1280" y="1600"/>
                  </a:cubicBezTo>
                  <a:cubicBezTo>
                    <a:pt x="1302" y="1600"/>
                    <a:pt x="1320" y="1582"/>
                    <a:pt x="1320" y="1560"/>
                  </a:cubicBezTo>
                  <a:cubicBezTo>
                    <a:pt x="1320" y="1538"/>
                    <a:pt x="1302" y="1520"/>
                    <a:pt x="1280" y="1520"/>
                  </a:cubicBezTo>
                  <a:cubicBezTo>
                    <a:pt x="960" y="1520"/>
                    <a:pt x="960" y="1520"/>
                    <a:pt x="960" y="1520"/>
                  </a:cubicBezTo>
                  <a:cubicBezTo>
                    <a:pt x="938" y="1520"/>
                    <a:pt x="920" y="1538"/>
                    <a:pt x="920" y="1560"/>
                  </a:cubicBezTo>
                  <a:cubicBezTo>
                    <a:pt x="920" y="1582"/>
                    <a:pt x="938" y="1600"/>
                    <a:pt x="960" y="1600"/>
                  </a:cubicBezTo>
                  <a:close/>
                  <a:moveTo>
                    <a:pt x="320" y="1280"/>
                  </a:moveTo>
                  <a:cubicBezTo>
                    <a:pt x="320" y="160"/>
                    <a:pt x="320" y="160"/>
                    <a:pt x="320" y="160"/>
                  </a:cubicBezTo>
                  <a:cubicBezTo>
                    <a:pt x="1920" y="160"/>
                    <a:pt x="1920" y="160"/>
                    <a:pt x="1920" y="160"/>
                  </a:cubicBezTo>
                  <a:cubicBezTo>
                    <a:pt x="1920" y="1280"/>
                    <a:pt x="1920" y="1280"/>
                    <a:pt x="1920" y="1280"/>
                  </a:cubicBezTo>
                  <a:lnTo>
                    <a:pt x="320" y="128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384" tIns="45692" rIns="91384" bIns="45692"/>
            <a:lstStyle/>
            <a:p>
              <a:endParaRPr lang="en-US"/>
            </a:p>
          </p:txBody>
        </p:sp>
        <p:sp>
          <p:nvSpPr>
            <p:cNvPr id="20" name="Freeform 45"/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8123099" y="958788"/>
              <a:ext cx="228529" cy="334860"/>
            </a:xfrm>
            <a:custGeom>
              <a:avLst/>
              <a:gdLst>
                <a:gd name="T0" fmla="*/ 600 w 1440"/>
                <a:gd name="T1" fmla="*/ 240 h 2120"/>
                <a:gd name="T2" fmla="*/ 840 w 1440"/>
                <a:gd name="T3" fmla="*/ 240 h 2120"/>
                <a:gd name="T4" fmla="*/ 880 w 1440"/>
                <a:gd name="T5" fmla="*/ 200 h 2120"/>
                <a:gd name="T6" fmla="*/ 840 w 1440"/>
                <a:gd name="T7" fmla="*/ 160 h 2120"/>
                <a:gd name="T8" fmla="*/ 600 w 1440"/>
                <a:gd name="T9" fmla="*/ 160 h 2120"/>
                <a:gd name="T10" fmla="*/ 560 w 1440"/>
                <a:gd name="T11" fmla="*/ 200 h 2120"/>
                <a:gd name="T12" fmla="*/ 600 w 1440"/>
                <a:gd name="T13" fmla="*/ 240 h 2120"/>
                <a:gd name="T14" fmla="*/ 721 w 1440"/>
                <a:gd name="T15" fmla="*/ 1759 h 2120"/>
                <a:gd name="T16" fmla="*/ 601 w 1440"/>
                <a:gd name="T17" fmla="*/ 1879 h 2120"/>
                <a:gd name="T18" fmla="*/ 721 w 1440"/>
                <a:gd name="T19" fmla="*/ 1999 h 2120"/>
                <a:gd name="T20" fmla="*/ 841 w 1440"/>
                <a:gd name="T21" fmla="*/ 1879 h 2120"/>
                <a:gd name="T22" fmla="*/ 721 w 1440"/>
                <a:gd name="T23" fmla="*/ 1759 h 2120"/>
                <a:gd name="T24" fmla="*/ 200 w 1440"/>
                <a:gd name="T25" fmla="*/ 0 h 2120"/>
                <a:gd name="T26" fmla="*/ 1240 w 1440"/>
                <a:gd name="T27" fmla="*/ 0 h 2120"/>
                <a:gd name="T28" fmla="*/ 1440 w 1440"/>
                <a:gd name="T29" fmla="*/ 200 h 2120"/>
                <a:gd name="T30" fmla="*/ 1440 w 1440"/>
                <a:gd name="T31" fmla="*/ 1920 h 2120"/>
                <a:gd name="T32" fmla="*/ 1240 w 1440"/>
                <a:gd name="T33" fmla="*/ 2120 h 2120"/>
                <a:gd name="T34" fmla="*/ 200 w 1440"/>
                <a:gd name="T35" fmla="*/ 2120 h 2120"/>
                <a:gd name="T36" fmla="*/ 0 w 1440"/>
                <a:gd name="T37" fmla="*/ 1920 h 2120"/>
                <a:gd name="T38" fmla="*/ 0 w 1440"/>
                <a:gd name="T39" fmla="*/ 200 h 2120"/>
                <a:gd name="T40" fmla="*/ 200 w 1440"/>
                <a:gd name="T41" fmla="*/ 0 h 2120"/>
                <a:gd name="T42" fmla="*/ 200 w 1440"/>
                <a:gd name="T43" fmla="*/ 360 h 2120"/>
                <a:gd name="T44" fmla="*/ 200 w 1440"/>
                <a:gd name="T45" fmla="*/ 1680 h 2120"/>
                <a:gd name="T46" fmla="*/ 1240 w 1440"/>
                <a:gd name="T47" fmla="*/ 1680 h 2120"/>
                <a:gd name="T48" fmla="*/ 1240 w 1440"/>
                <a:gd name="T49" fmla="*/ 360 h 2120"/>
                <a:gd name="T50" fmla="*/ 200 w 1440"/>
                <a:gd name="T51" fmla="*/ 360 h 2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0" h="2120">
                  <a:moveTo>
                    <a:pt x="600" y="240"/>
                  </a:moveTo>
                  <a:cubicBezTo>
                    <a:pt x="840" y="240"/>
                    <a:pt x="840" y="240"/>
                    <a:pt x="840" y="240"/>
                  </a:cubicBezTo>
                  <a:cubicBezTo>
                    <a:pt x="862" y="240"/>
                    <a:pt x="880" y="222"/>
                    <a:pt x="880" y="200"/>
                  </a:cubicBezTo>
                  <a:cubicBezTo>
                    <a:pt x="880" y="178"/>
                    <a:pt x="862" y="160"/>
                    <a:pt x="84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578" y="160"/>
                    <a:pt x="560" y="178"/>
                    <a:pt x="560" y="200"/>
                  </a:cubicBezTo>
                  <a:cubicBezTo>
                    <a:pt x="560" y="222"/>
                    <a:pt x="578" y="240"/>
                    <a:pt x="600" y="240"/>
                  </a:cubicBezTo>
                  <a:close/>
                  <a:moveTo>
                    <a:pt x="721" y="1759"/>
                  </a:moveTo>
                  <a:cubicBezTo>
                    <a:pt x="655" y="1759"/>
                    <a:pt x="601" y="1813"/>
                    <a:pt x="601" y="1879"/>
                  </a:cubicBezTo>
                  <a:cubicBezTo>
                    <a:pt x="601" y="1945"/>
                    <a:pt x="655" y="1999"/>
                    <a:pt x="721" y="1999"/>
                  </a:cubicBezTo>
                  <a:cubicBezTo>
                    <a:pt x="787" y="1999"/>
                    <a:pt x="841" y="1945"/>
                    <a:pt x="841" y="1879"/>
                  </a:cubicBezTo>
                  <a:cubicBezTo>
                    <a:pt x="841" y="1813"/>
                    <a:pt x="787" y="1759"/>
                    <a:pt x="721" y="1759"/>
                  </a:cubicBezTo>
                  <a:close/>
                  <a:moveTo>
                    <a:pt x="200" y="0"/>
                  </a:moveTo>
                  <a:cubicBezTo>
                    <a:pt x="1240" y="0"/>
                    <a:pt x="1240" y="0"/>
                    <a:pt x="1240" y="0"/>
                  </a:cubicBezTo>
                  <a:cubicBezTo>
                    <a:pt x="1350" y="0"/>
                    <a:pt x="1440" y="90"/>
                    <a:pt x="1440" y="200"/>
                  </a:cubicBezTo>
                  <a:cubicBezTo>
                    <a:pt x="1440" y="1920"/>
                    <a:pt x="1440" y="1920"/>
                    <a:pt x="1440" y="1920"/>
                  </a:cubicBezTo>
                  <a:cubicBezTo>
                    <a:pt x="1440" y="2030"/>
                    <a:pt x="1350" y="2120"/>
                    <a:pt x="1240" y="2120"/>
                  </a:cubicBezTo>
                  <a:cubicBezTo>
                    <a:pt x="200" y="2120"/>
                    <a:pt x="200" y="2120"/>
                    <a:pt x="200" y="2120"/>
                  </a:cubicBezTo>
                  <a:cubicBezTo>
                    <a:pt x="90" y="2120"/>
                    <a:pt x="0" y="2030"/>
                    <a:pt x="0" y="1920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90"/>
                    <a:pt x="90" y="0"/>
                    <a:pt x="200" y="0"/>
                  </a:cubicBezTo>
                  <a:close/>
                  <a:moveTo>
                    <a:pt x="200" y="360"/>
                  </a:moveTo>
                  <a:cubicBezTo>
                    <a:pt x="200" y="1680"/>
                    <a:pt x="200" y="1680"/>
                    <a:pt x="200" y="1680"/>
                  </a:cubicBezTo>
                  <a:cubicBezTo>
                    <a:pt x="1240" y="1680"/>
                    <a:pt x="1240" y="1680"/>
                    <a:pt x="1240" y="1680"/>
                  </a:cubicBezTo>
                  <a:cubicBezTo>
                    <a:pt x="1240" y="360"/>
                    <a:pt x="1240" y="360"/>
                    <a:pt x="1240" y="360"/>
                  </a:cubicBezTo>
                  <a:lnTo>
                    <a:pt x="200" y="36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/>
          </p:spPr>
          <p:txBody>
            <a:bodyPr lIns="91384" tIns="45692" rIns="91384" bIns="45692"/>
            <a:lstStyle/>
            <a:p>
              <a:pPr>
                <a:defRPr/>
              </a:pPr>
              <a:endParaRPr lang="en-US" sz="1000" b="1" noProof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endParaRPr>
            </a:p>
          </p:txBody>
        </p:sp>
        <p:sp>
          <p:nvSpPr>
            <p:cNvPr id="313" name="Freeform 75"/>
            <p:cNvSpPr>
              <a:spLocks noChangeAspect="1"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5112807" y="1031386"/>
              <a:ext cx="384931" cy="315608"/>
            </a:xfrm>
            <a:custGeom>
              <a:avLst/>
              <a:gdLst>
                <a:gd name="T0" fmla="*/ 2147483647 w 2187"/>
                <a:gd name="T1" fmla="*/ 2147483647 h 1565"/>
                <a:gd name="T2" fmla="*/ 2147483647 w 2187"/>
                <a:gd name="T3" fmla="*/ 2147483647 h 1565"/>
                <a:gd name="T4" fmla="*/ 2147483647 w 2187"/>
                <a:gd name="T5" fmla="*/ 2147483647 h 1565"/>
                <a:gd name="T6" fmla="*/ 2147483647 w 2187"/>
                <a:gd name="T7" fmla="*/ 2147483647 h 1565"/>
                <a:gd name="T8" fmla="*/ 2147483647 w 2187"/>
                <a:gd name="T9" fmla="*/ 2147483647 h 1565"/>
                <a:gd name="T10" fmla="*/ 2147483647 w 2187"/>
                <a:gd name="T11" fmla="*/ 2147483647 h 1565"/>
                <a:gd name="T12" fmla="*/ 2147483647 w 2187"/>
                <a:gd name="T13" fmla="*/ 2147483647 h 1565"/>
                <a:gd name="T14" fmla="*/ 2147483647 w 2187"/>
                <a:gd name="T15" fmla="*/ 2147483647 h 1565"/>
                <a:gd name="T16" fmla="*/ 2147483647 w 2187"/>
                <a:gd name="T17" fmla="*/ 2147483647 h 1565"/>
                <a:gd name="T18" fmla="*/ 2147483647 w 2187"/>
                <a:gd name="T19" fmla="*/ 2147483647 h 1565"/>
                <a:gd name="T20" fmla="*/ 2147483647 w 2187"/>
                <a:gd name="T21" fmla="*/ 2147483647 h 1565"/>
                <a:gd name="T22" fmla="*/ 2147483647 w 2187"/>
                <a:gd name="T23" fmla="*/ 2147483647 h 1565"/>
                <a:gd name="T24" fmla="*/ 2147483647 w 2187"/>
                <a:gd name="T25" fmla="*/ 2147483647 h 1565"/>
                <a:gd name="T26" fmla="*/ 0 w 2187"/>
                <a:gd name="T27" fmla="*/ 2147483647 h 1565"/>
                <a:gd name="T28" fmla="*/ 2147483647 w 2187"/>
                <a:gd name="T29" fmla="*/ 2147483647 h 1565"/>
                <a:gd name="T30" fmla="*/ 2147483647 w 2187"/>
                <a:gd name="T31" fmla="*/ 2147483647 h 1565"/>
                <a:gd name="T32" fmla="*/ 2147483647 w 2187"/>
                <a:gd name="T33" fmla="*/ 2147483647 h 1565"/>
                <a:gd name="T34" fmla="*/ 2147483647 w 2187"/>
                <a:gd name="T35" fmla="*/ 2147483647 h 1565"/>
                <a:gd name="T36" fmla="*/ 2147483647 w 2187"/>
                <a:gd name="T37" fmla="*/ 2147483647 h 1565"/>
                <a:gd name="T38" fmla="*/ 2147483647 w 2187"/>
                <a:gd name="T39" fmla="*/ 2147483647 h 1565"/>
                <a:gd name="T40" fmla="*/ 2147483647 w 2187"/>
                <a:gd name="T41" fmla="*/ 2147483647 h 1565"/>
                <a:gd name="T42" fmla="*/ 2147483647 w 2187"/>
                <a:gd name="T43" fmla="*/ 2147483647 h 1565"/>
                <a:gd name="T44" fmla="*/ 2147483647 w 2187"/>
                <a:gd name="T45" fmla="*/ 2147483647 h 1565"/>
                <a:gd name="T46" fmla="*/ 2147483647 w 2187"/>
                <a:gd name="T47" fmla="*/ 2147483647 h 1565"/>
                <a:gd name="T48" fmla="*/ 0 w 2187"/>
                <a:gd name="T49" fmla="*/ 2147483647 h 1565"/>
                <a:gd name="T50" fmla="*/ 0 w 2187"/>
                <a:gd name="T51" fmla="*/ 2147483647 h 1565"/>
                <a:gd name="T52" fmla="*/ 0 w 2187"/>
                <a:gd name="T53" fmla="*/ 2147483647 h 1565"/>
                <a:gd name="T54" fmla="*/ 2147483647 w 2187"/>
                <a:gd name="T55" fmla="*/ 2147483647 h 1565"/>
                <a:gd name="T56" fmla="*/ 2147483647 w 2187"/>
                <a:gd name="T57" fmla="*/ 2147483647 h 1565"/>
                <a:gd name="T58" fmla="*/ 2147483647 w 2187"/>
                <a:gd name="T59" fmla="*/ 2147483647 h 1565"/>
                <a:gd name="T60" fmla="*/ 2147483647 w 2187"/>
                <a:gd name="T61" fmla="*/ 2147483647 h 1565"/>
                <a:gd name="T62" fmla="*/ 2147483647 w 2187"/>
                <a:gd name="T63" fmla="*/ 2147483647 h 1565"/>
                <a:gd name="T64" fmla="*/ 2147483647 w 2187"/>
                <a:gd name="T65" fmla="*/ 2147483647 h 1565"/>
                <a:gd name="T66" fmla="*/ 2147483647 w 2187"/>
                <a:gd name="T67" fmla="*/ 2147483647 h 1565"/>
                <a:gd name="T68" fmla="*/ 2147483647 w 2187"/>
                <a:gd name="T69" fmla="*/ 2147483647 h 1565"/>
                <a:gd name="T70" fmla="*/ 2147483647 w 2187"/>
                <a:gd name="T71" fmla="*/ 2147483647 h 1565"/>
                <a:gd name="T72" fmla="*/ 2147483647 w 2187"/>
                <a:gd name="T73" fmla="*/ 2147483647 h 1565"/>
                <a:gd name="T74" fmla="*/ 0 w 2187"/>
                <a:gd name="T75" fmla="*/ 2147483647 h 1565"/>
                <a:gd name="T76" fmla="*/ 0 w 2187"/>
                <a:gd name="T77" fmla="*/ 2147483647 h 1565"/>
                <a:gd name="T78" fmla="*/ 0 w 2187"/>
                <a:gd name="T79" fmla="*/ 2147483647 h 1565"/>
                <a:gd name="T80" fmla="*/ 2147483647 w 2187"/>
                <a:gd name="T81" fmla="*/ 2147483647 h 1565"/>
                <a:gd name="T82" fmla="*/ 2147483647 w 2187"/>
                <a:gd name="T83" fmla="*/ 2147483647 h 1565"/>
                <a:gd name="T84" fmla="*/ 2147483647 w 2187"/>
                <a:gd name="T85" fmla="*/ 2147483647 h 1565"/>
                <a:gd name="T86" fmla="*/ 2147483647 w 2187"/>
                <a:gd name="T87" fmla="*/ 2147483647 h 1565"/>
                <a:gd name="T88" fmla="*/ 2147483647 w 2187"/>
                <a:gd name="T89" fmla="*/ 2147483647 h 1565"/>
                <a:gd name="T90" fmla="*/ 2147483647 w 2187"/>
                <a:gd name="T91" fmla="*/ 2147483647 h 1565"/>
                <a:gd name="T92" fmla="*/ 2147483647 w 2187"/>
                <a:gd name="T93" fmla="*/ 2147483647 h 1565"/>
                <a:gd name="T94" fmla="*/ 2147483647 w 2187"/>
                <a:gd name="T95" fmla="*/ 2147483647 h 1565"/>
                <a:gd name="T96" fmla="*/ 2147483647 w 2187"/>
                <a:gd name="T97" fmla="*/ 2147483647 h 1565"/>
                <a:gd name="T98" fmla="*/ 2147483647 w 2187"/>
                <a:gd name="T99" fmla="*/ 2147483647 h 1565"/>
                <a:gd name="T100" fmla="*/ 0 w 2187"/>
                <a:gd name="T101" fmla="*/ 2147483647 h 1565"/>
                <a:gd name="T102" fmla="*/ 0 w 2187"/>
                <a:gd name="T103" fmla="*/ 2147483647 h 156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187" h="1565">
                  <a:moveTo>
                    <a:pt x="2121" y="628"/>
                  </a:moveTo>
                  <a:cubicBezTo>
                    <a:pt x="2080" y="692"/>
                    <a:pt x="2021" y="743"/>
                    <a:pt x="1952" y="775"/>
                  </a:cubicBezTo>
                  <a:cubicBezTo>
                    <a:pt x="1934" y="784"/>
                    <a:pt x="1922" y="795"/>
                    <a:pt x="1914" y="813"/>
                  </a:cubicBezTo>
                  <a:cubicBezTo>
                    <a:pt x="1686" y="1335"/>
                    <a:pt x="1686" y="1335"/>
                    <a:pt x="1686" y="1335"/>
                  </a:cubicBezTo>
                  <a:cubicBezTo>
                    <a:pt x="1616" y="1495"/>
                    <a:pt x="1441" y="1565"/>
                    <a:pt x="1279" y="1509"/>
                  </a:cubicBezTo>
                  <a:cubicBezTo>
                    <a:pt x="1192" y="1479"/>
                    <a:pt x="1108" y="1402"/>
                    <a:pt x="1151" y="1303"/>
                  </a:cubicBezTo>
                  <a:cubicBezTo>
                    <a:pt x="1378" y="785"/>
                    <a:pt x="1378" y="785"/>
                    <a:pt x="1378" y="785"/>
                  </a:cubicBezTo>
                  <a:cubicBezTo>
                    <a:pt x="840" y="735"/>
                    <a:pt x="840" y="735"/>
                    <a:pt x="840" y="735"/>
                  </a:cubicBezTo>
                  <a:cubicBezTo>
                    <a:pt x="840" y="76"/>
                    <a:pt x="840" y="76"/>
                    <a:pt x="840" y="76"/>
                  </a:cubicBezTo>
                  <a:cubicBezTo>
                    <a:pt x="1724" y="9"/>
                    <a:pt x="1724" y="9"/>
                    <a:pt x="1724" y="9"/>
                  </a:cubicBezTo>
                  <a:cubicBezTo>
                    <a:pt x="1840" y="0"/>
                    <a:pt x="1956" y="33"/>
                    <a:pt x="2045" y="109"/>
                  </a:cubicBezTo>
                  <a:cubicBezTo>
                    <a:pt x="2121" y="174"/>
                    <a:pt x="2172" y="267"/>
                    <a:pt x="2180" y="379"/>
                  </a:cubicBezTo>
                  <a:cubicBezTo>
                    <a:pt x="2187" y="466"/>
                    <a:pt x="2168" y="553"/>
                    <a:pt x="2121" y="628"/>
                  </a:cubicBezTo>
                  <a:close/>
                  <a:moveTo>
                    <a:pt x="0" y="635"/>
                  </a:moveTo>
                  <a:cubicBezTo>
                    <a:pt x="9" y="638"/>
                    <a:pt x="18" y="640"/>
                    <a:pt x="27" y="640"/>
                  </a:cubicBezTo>
                  <a:cubicBezTo>
                    <a:pt x="90" y="640"/>
                    <a:pt x="164" y="553"/>
                    <a:pt x="253" y="553"/>
                  </a:cubicBezTo>
                  <a:cubicBezTo>
                    <a:pt x="342" y="553"/>
                    <a:pt x="416" y="640"/>
                    <a:pt x="480" y="640"/>
                  </a:cubicBezTo>
                  <a:cubicBezTo>
                    <a:pt x="544" y="640"/>
                    <a:pt x="618" y="553"/>
                    <a:pt x="707" y="553"/>
                  </a:cubicBezTo>
                  <a:cubicBezTo>
                    <a:pt x="725" y="553"/>
                    <a:pt x="743" y="557"/>
                    <a:pt x="760" y="562"/>
                  </a:cubicBezTo>
                  <a:cubicBezTo>
                    <a:pt x="760" y="649"/>
                    <a:pt x="760" y="649"/>
                    <a:pt x="760" y="649"/>
                  </a:cubicBezTo>
                  <a:cubicBezTo>
                    <a:pt x="741" y="640"/>
                    <a:pt x="723" y="633"/>
                    <a:pt x="707" y="633"/>
                  </a:cubicBezTo>
                  <a:cubicBezTo>
                    <a:pt x="643" y="633"/>
                    <a:pt x="569" y="720"/>
                    <a:pt x="480" y="720"/>
                  </a:cubicBezTo>
                  <a:cubicBezTo>
                    <a:pt x="391" y="720"/>
                    <a:pt x="317" y="633"/>
                    <a:pt x="253" y="633"/>
                  </a:cubicBezTo>
                  <a:cubicBezTo>
                    <a:pt x="190" y="633"/>
                    <a:pt x="116" y="720"/>
                    <a:pt x="27" y="720"/>
                  </a:cubicBezTo>
                  <a:cubicBezTo>
                    <a:pt x="18" y="720"/>
                    <a:pt x="9" y="719"/>
                    <a:pt x="0" y="717"/>
                  </a:cubicBezTo>
                  <a:lnTo>
                    <a:pt x="0" y="635"/>
                  </a:lnTo>
                  <a:close/>
                  <a:moveTo>
                    <a:pt x="0" y="435"/>
                  </a:moveTo>
                  <a:cubicBezTo>
                    <a:pt x="9" y="438"/>
                    <a:pt x="18" y="440"/>
                    <a:pt x="27" y="440"/>
                  </a:cubicBezTo>
                  <a:cubicBezTo>
                    <a:pt x="90" y="440"/>
                    <a:pt x="164" y="353"/>
                    <a:pt x="253" y="353"/>
                  </a:cubicBezTo>
                  <a:cubicBezTo>
                    <a:pt x="342" y="353"/>
                    <a:pt x="416" y="440"/>
                    <a:pt x="480" y="440"/>
                  </a:cubicBezTo>
                  <a:cubicBezTo>
                    <a:pt x="544" y="440"/>
                    <a:pt x="618" y="353"/>
                    <a:pt x="707" y="353"/>
                  </a:cubicBezTo>
                  <a:cubicBezTo>
                    <a:pt x="725" y="353"/>
                    <a:pt x="743" y="357"/>
                    <a:pt x="760" y="362"/>
                  </a:cubicBezTo>
                  <a:cubicBezTo>
                    <a:pt x="760" y="449"/>
                    <a:pt x="760" y="449"/>
                    <a:pt x="760" y="449"/>
                  </a:cubicBezTo>
                  <a:cubicBezTo>
                    <a:pt x="741" y="440"/>
                    <a:pt x="723" y="433"/>
                    <a:pt x="707" y="433"/>
                  </a:cubicBezTo>
                  <a:cubicBezTo>
                    <a:pt x="643" y="433"/>
                    <a:pt x="569" y="520"/>
                    <a:pt x="480" y="520"/>
                  </a:cubicBezTo>
                  <a:cubicBezTo>
                    <a:pt x="391" y="520"/>
                    <a:pt x="317" y="433"/>
                    <a:pt x="253" y="433"/>
                  </a:cubicBezTo>
                  <a:cubicBezTo>
                    <a:pt x="190" y="433"/>
                    <a:pt x="116" y="520"/>
                    <a:pt x="27" y="520"/>
                  </a:cubicBezTo>
                  <a:cubicBezTo>
                    <a:pt x="18" y="520"/>
                    <a:pt x="9" y="519"/>
                    <a:pt x="0" y="517"/>
                  </a:cubicBezTo>
                  <a:lnTo>
                    <a:pt x="0" y="435"/>
                  </a:lnTo>
                  <a:close/>
                  <a:moveTo>
                    <a:pt x="0" y="235"/>
                  </a:moveTo>
                  <a:cubicBezTo>
                    <a:pt x="9" y="238"/>
                    <a:pt x="18" y="240"/>
                    <a:pt x="27" y="240"/>
                  </a:cubicBezTo>
                  <a:cubicBezTo>
                    <a:pt x="90" y="240"/>
                    <a:pt x="164" y="153"/>
                    <a:pt x="253" y="153"/>
                  </a:cubicBezTo>
                  <a:cubicBezTo>
                    <a:pt x="342" y="153"/>
                    <a:pt x="416" y="240"/>
                    <a:pt x="480" y="240"/>
                  </a:cubicBezTo>
                  <a:cubicBezTo>
                    <a:pt x="544" y="240"/>
                    <a:pt x="618" y="153"/>
                    <a:pt x="707" y="153"/>
                  </a:cubicBezTo>
                  <a:cubicBezTo>
                    <a:pt x="725" y="153"/>
                    <a:pt x="743" y="157"/>
                    <a:pt x="760" y="162"/>
                  </a:cubicBezTo>
                  <a:cubicBezTo>
                    <a:pt x="760" y="249"/>
                    <a:pt x="760" y="249"/>
                    <a:pt x="760" y="249"/>
                  </a:cubicBezTo>
                  <a:cubicBezTo>
                    <a:pt x="741" y="240"/>
                    <a:pt x="723" y="233"/>
                    <a:pt x="707" y="233"/>
                  </a:cubicBezTo>
                  <a:cubicBezTo>
                    <a:pt x="643" y="233"/>
                    <a:pt x="569" y="320"/>
                    <a:pt x="480" y="320"/>
                  </a:cubicBezTo>
                  <a:cubicBezTo>
                    <a:pt x="391" y="320"/>
                    <a:pt x="317" y="233"/>
                    <a:pt x="253" y="233"/>
                  </a:cubicBezTo>
                  <a:cubicBezTo>
                    <a:pt x="190" y="233"/>
                    <a:pt x="116" y="320"/>
                    <a:pt x="27" y="320"/>
                  </a:cubicBezTo>
                  <a:cubicBezTo>
                    <a:pt x="18" y="320"/>
                    <a:pt x="9" y="319"/>
                    <a:pt x="0" y="317"/>
                  </a:cubicBezTo>
                  <a:lnTo>
                    <a:pt x="0" y="23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lIns="91384" tIns="45692" rIns="91384" bIns="45692"/>
            <a:lstStyle/>
            <a:p>
              <a:endParaRPr lang="en-US"/>
            </a:p>
          </p:txBody>
        </p:sp>
        <p:sp>
          <p:nvSpPr>
            <p:cNvPr id="316" name="Rectangle 315"/>
            <p:cNvSpPr/>
            <p:nvPr/>
          </p:nvSpPr>
          <p:spPr bwMode="gray">
            <a:xfrm>
              <a:off x="119579" y="1372109"/>
              <a:ext cx="628224" cy="14358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9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2015</a:t>
              </a:r>
              <a:endParaRPr lang="uk-UA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" name="Rectangle 316"/>
            <p:cNvSpPr/>
            <p:nvPr/>
          </p:nvSpPr>
          <p:spPr bwMode="gray">
            <a:xfrm>
              <a:off x="605264" y="1372109"/>
              <a:ext cx="628224" cy="15139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9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2016</a:t>
              </a:r>
              <a:endParaRPr lang="uk-UA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" name="Rectangle 317"/>
            <p:cNvSpPr/>
            <p:nvPr/>
          </p:nvSpPr>
          <p:spPr bwMode="gray">
            <a:xfrm>
              <a:off x="1128133" y="1372109"/>
              <a:ext cx="628224" cy="14358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9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1Q 2017</a:t>
              </a:r>
              <a:endParaRPr lang="uk-UA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" name="Rectangle 320"/>
            <p:cNvSpPr/>
            <p:nvPr/>
          </p:nvSpPr>
          <p:spPr bwMode="gray">
            <a:xfrm>
              <a:off x="2720666" y="1372377"/>
              <a:ext cx="628224" cy="17828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9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2015</a:t>
              </a:r>
              <a:endParaRPr lang="uk-UA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" name="Rectangle 321"/>
            <p:cNvSpPr/>
            <p:nvPr/>
          </p:nvSpPr>
          <p:spPr bwMode="gray">
            <a:xfrm>
              <a:off x="3207146" y="1355229"/>
              <a:ext cx="628224" cy="19960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9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2016</a:t>
              </a:r>
              <a:endParaRPr lang="uk-UA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" name="Rectangle 322"/>
            <p:cNvSpPr/>
            <p:nvPr/>
          </p:nvSpPr>
          <p:spPr bwMode="gray">
            <a:xfrm>
              <a:off x="3729220" y="1372377"/>
              <a:ext cx="628224" cy="17522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9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1Q 2017</a:t>
              </a:r>
              <a:endParaRPr lang="uk-UA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" name="Rectangle 324"/>
            <p:cNvSpPr/>
            <p:nvPr/>
          </p:nvSpPr>
          <p:spPr bwMode="gray">
            <a:xfrm>
              <a:off x="4280661" y="1372109"/>
              <a:ext cx="628224" cy="17068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9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2015</a:t>
              </a:r>
              <a:endParaRPr lang="uk-UA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" name="Rectangle 325"/>
            <p:cNvSpPr/>
            <p:nvPr/>
          </p:nvSpPr>
          <p:spPr bwMode="gray">
            <a:xfrm>
              <a:off x="4766346" y="1372109"/>
              <a:ext cx="628224" cy="17997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9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2016</a:t>
              </a:r>
              <a:endParaRPr lang="uk-UA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" name="Rectangle 326"/>
            <p:cNvSpPr/>
            <p:nvPr/>
          </p:nvSpPr>
          <p:spPr bwMode="gray">
            <a:xfrm>
              <a:off x="5289215" y="1372109"/>
              <a:ext cx="628224" cy="17068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9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1Q 2017</a:t>
              </a:r>
              <a:endParaRPr lang="uk-UA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" name="Rectangle 328"/>
            <p:cNvSpPr/>
            <p:nvPr/>
          </p:nvSpPr>
          <p:spPr bwMode="gray">
            <a:xfrm>
              <a:off x="5852286" y="1372108"/>
              <a:ext cx="628224" cy="16830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9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2015</a:t>
              </a:r>
              <a:endParaRPr lang="uk-UA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0" name="Rectangle 329"/>
            <p:cNvSpPr/>
            <p:nvPr/>
          </p:nvSpPr>
          <p:spPr bwMode="gray">
            <a:xfrm>
              <a:off x="6337971" y="1372108"/>
              <a:ext cx="628224" cy="17746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9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2016</a:t>
              </a:r>
              <a:endParaRPr lang="uk-UA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" name="Rectangle 330"/>
            <p:cNvSpPr/>
            <p:nvPr/>
          </p:nvSpPr>
          <p:spPr bwMode="gray">
            <a:xfrm>
              <a:off x="6860840" y="1372108"/>
              <a:ext cx="628224" cy="16831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9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1Q 2017</a:t>
              </a:r>
              <a:endParaRPr lang="uk-UA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" name="Rectangle 332"/>
            <p:cNvSpPr/>
            <p:nvPr/>
          </p:nvSpPr>
          <p:spPr bwMode="gray">
            <a:xfrm>
              <a:off x="7418974" y="1372108"/>
              <a:ext cx="628224" cy="16465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9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2015</a:t>
              </a:r>
              <a:endParaRPr lang="uk-UA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4" name="Rectangle 333"/>
            <p:cNvSpPr/>
            <p:nvPr/>
          </p:nvSpPr>
          <p:spPr bwMode="gray">
            <a:xfrm>
              <a:off x="7904659" y="1372108"/>
              <a:ext cx="628224" cy="17362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9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2016</a:t>
              </a:r>
              <a:endParaRPr lang="uk-UA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5" name="Rectangle 334"/>
            <p:cNvSpPr/>
            <p:nvPr/>
          </p:nvSpPr>
          <p:spPr bwMode="gray">
            <a:xfrm>
              <a:off x="8427528" y="1372108"/>
              <a:ext cx="628224" cy="16466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9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1Q 2017</a:t>
              </a:r>
              <a:endParaRPr lang="uk-UA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2746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68"/>
          <a:stretch/>
        </p:blipFill>
        <p:spPr>
          <a:xfrm>
            <a:off x="-108520" y="0"/>
            <a:ext cx="9252520" cy="5164038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 bwMode="gray">
          <a:xfrm>
            <a:off x="4100915" y="771550"/>
            <a:ext cx="5040560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2000" dirty="0" smtClean="0"/>
              <a:t>Увеличение </a:t>
            </a:r>
            <a:r>
              <a:rPr lang="ru-RU" sz="2000" dirty="0"/>
              <a:t>числа интернет: </a:t>
            </a:r>
            <a:endParaRPr lang="uk-UA" sz="20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ru-RU" sz="2000" dirty="0"/>
              <a:t>п</a:t>
            </a:r>
            <a:r>
              <a:rPr lang="ru-RU" sz="2000" dirty="0" smtClean="0"/>
              <a:t>ользователей</a:t>
            </a:r>
            <a:endParaRPr lang="uk-UA" sz="20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ru-RU" sz="2000" dirty="0"/>
              <a:t>п</a:t>
            </a:r>
            <a:r>
              <a:rPr lang="ru-RU" sz="2000" dirty="0" smtClean="0"/>
              <a:t>окупателей</a:t>
            </a:r>
            <a:endParaRPr lang="uk-UA" sz="20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ru-RU" sz="2000" dirty="0"/>
              <a:t>п</a:t>
            </a:r>
            <a:r>
              <a:rPr lang="ru-RU" sz="2000" dirty="0" smtClean="0"/>
              <a:t>окупок </a:t>
            </a:r>
            <a:r>
              <a:rPr lang="ru-RU" sz="2000" dirty="0"/>
              <a:t>за </a:t>
            </a:r>
            <a:r>
              <a:rPr lang="ru-RU" sz="2000" dirty="0" smtClean="0"/>
              <a:t>рубежом (при </a:t>
            </a:r>
            <a:r>
              <a:rPr lang="ru-RU" sz="2000" dirty="0"/>
              <a:t>прочих равных </a:t>
            </a:r>
            <a:r>
              <a:rPr lang="ru-RU" sz="2000" dirty="0" smtClean="0"/>
              <a:t>условиях) </a:t>
            </a:r>
            <a:endParaRPr lang="en-US" sz="2000" dirty="0" smtClean="0"/>
          </a:p>
        </p:txBody>
      </p:sp>
      <p:sp>
        <p:nvSpPr>
          <p:cNvPr id="5" name="TextBox 4"/>
          <p:cNvSpPr txBox="1"/>
          <p:nvPr/>
        </p:nvSpPr>
        <p:spPr bwMode="gray">
          <a:xfrm>
            <a:off x="4100915" y="2563713"/>
            <a:ext cx="504056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2000" dirty="0" smtClean="0"/>
              <a:t>Покупки </a:t>
            </a:r>
            <a:r>
              <a:rPr lang="ru-RU" sz="2000" dirty="0"/>
              <a:t>через социальные сети</a:t>
            </a:r>
            <a:r>
              <a:rPr lang="ru-RU" sz="2000" dirty="0" smtClean="0"/>
              <a:t>?</a:t>
            </a:r>
            <a:endParaRPr lang="en-US" sz="2000" dirty="0" smtClean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4103440" y="3187328"/>
            <a:ext cx="504056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2000" dirty="0"/>
              <a:t>Рост рынка </a:t>
            </a:r>
            <a:r>
              <a:rPr lang="ru-RU" sz="2000" dirty="0" err="1"/>
              <a:t>БТиЭ</a:t>
            </a:r>
            <a:r>
              <a:rPr lang="en-US" sz="2000" dirty="0"/>
              <a:t>: </a:t>
            </a:r>
            <a:r>
              <a:rPr lang="ru-RU" sz="2000" dirty="0"/>
              <a:t>онлайн быстрее традиционной розницы (при прочих равных условиях)</a:t>
            </a:r>
            <a:endParaRPr lang="uk-UA" sz="2000" dirty="0"/>
          </a:p>
        </p:txBody>
      </p:sp>
    </p:spTree>
    <p:extLst>
      <p:ext uri="{BB962C8B-B14F-4D97-AF65-F5344CB8AC3E}">
        <p14:creationId xmlns:p14="http://schemas.microsoft.com/office/powerpoint/2010/main" val="1384943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8" y="987425"/>
            <a:ext cx="8494712" cy="1441450"/>
          </a:xfrm>
        </p:spPr>
        <p:txBody>
          <a:bodyPr rtlCol="0">
            <a:no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dirty="0" smtClean="0"/>
              <a:t>Благодарю за внимание!</a:t>
            </a:r>
            <a:endParaRPr lang="ru-RU" dirty="0"/>
          </a:p>
        </p:txBody>
      </p:sp>
      <p:sp>
        <p:nvSpPr>
          <p:cNvPr id="3" name="Text Placeholder 3"/>
          <p:cNvSpPr txBox="1">
            <a:spLocks/>
          </p:cNvSpPr>
          <p:nvPr/>
        </p:nvSpPr>
        <p:spPr bwMode="gray">
          <a:xfrm>
            <a:off x="180975" y="3940175"/>
            <a:ext cx="8494713" cy="10795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fontAlgn="auto">
              <a:defRPr/>
            </a:pPr>
            <a:r>
              <a:rPr lang="uk-UA" sz="1799" dirty="0">
                <a:solidFill>
                  <a:schemeClr val="bg1"/>
                </a:solidFill>
              </a:rPr>
              <a:t>Андрей Осадчий, </a:t>
            </a:r>
            <a:r>
              <a:rPr lang="uk-UA" sz="1799" dirty="0" err="1">
                <a:solidFill>
                  <a:schemeClr val="bg1"/>
                </a:solidFill>
              </a:rPr>
              <a:t>заместитель</a:t>
            </a:r>
            <a:r>
              <a:rPr lang="uk-UA" sz="1799" dirty="0">
                <a:solidFill>
                  <a:schemeClr val="bg1"/>
                </a:solidFill>
              </a:rPr>
              <a:t> начальника </a:t>
            </a:r>
            <a:r>
              <a:rPr lang="uk-UA" sz="1799" dirty="0" err="1">
                <a:solidFill>
                  <a:schemeClr val="bg1"/>
                </a:solidFill>
              </a:rPr>
              <a:t>отдела</a:t>
            </a:r>
            <a:r>
              <a:rPr lang="uk-UA" sz="1799" dirty="0">
                <a:solidFill>
                  <a:schemeClr val="bg1"/>
                </a:solidFill>
              </a:rPr>
              <a:t> </a:t>
            </a:r>
            <a:r>
              <a:rPr lang="en-US" sz="1799" dirty="0">
                <a:solidFill>
                  <a:schemeClr val="bg1"/>
                </a:solidFill>
              </a:rPr>
              <a:t>Point of Sales Tracking </a:t>
            </a:r>
            <a:endParaRPr lang="ru-RU" sz="1799" dirty="0">
              <a:solidFill>
                <a:schemeClr val="bg1"/>
              </a:solidFill>
            </a:endParaRPr>
          </a:p>
          <a:p>
            <a:pPr fontAlgn="auto">
              <a:defRPr/>
            </a:pPr>
            <a:r>
              <a:rPr lang="en-US" sz="1799" dirty="0">
                <a:solidFill>
                  <a:schemeClr val="bg1"/>
                </a:solidFill>
              </a:rPr>
              <a:t>andriy.osadchyy@gfk.com</a:t>
            </a:r>
          </a:p>
          <a:p>
            <a:pPr fontAlgn="auto">
              <a:defRPr/>
            </a:pPr>
            <a:r>
              <a:rPr lang="en-US" sz="1799" dirty="0" smtClean="0">
                <a:solidFill>
                  <a:schemeClr val="bg1"/>
                </a:solidFill>
              </a:rPr>
              <a:t>www.gfk.com/uk-ua</a:t>
            </a:r>
            <a:r>
              <a:rPr lang="ru-RU" sz="1799" dirty="0" smtClean="0">
                <a:solidFill>
                  <a:schemeClr val="bg1"/>
                </a:solidFill>
              </a:rPr>
              <a:t> </a:t>
            </a:r>
            <a:r>
              <a:rPr lang="en-US" sz="1799" dirty="0">
                <a:solidFill>
                  <a:schemeClr val="bg1"/>
                </a:solidFill>
              </a:rPr>
              <a:t>| www.facebook/gfkua</a:t>
            </a:r>
          </a:p>
        </p:txBody>
      </p:sp>
    </p:spTree>
    <p:extLst>
      <p:ext uri="{BB962C8B-B14F-4D97-AF65-F5344CB8AC3E}">
        <p14:creationId xmlns:p14="http://schemas.microsoft.com/office/powerpoint/2010/main" val="2211657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8326469" y="4416179"/>
            <a:ext cx="81753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i="1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Млн.чел.</a:t>
            </a:r>
            <a:endParaRPr lang="uk-UA" sz="1200" i="1" cap="all" dirty="0">
              <a:solidFill>
                <a:schemeClr val="bg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13" name="Текст 4"/>
          <p:cNvSpPr txBox="1">
            <a:spLocks/>
          </p:cNvSpPr>
          <p:nvPr/>
        </p:nvSpPr>
        <p:spPr>
          <a:xfrm>
            <a:off x="250825" y="4659982"/>
            <a:ext cx="9053513" cy="28984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fontAlgn="auto">
              <a:spcBef>
                <a:spcPts val="0"/>
              </a:spcBef>
              <a:defRPr/>
            </a:pPr>
            <a:r>
              <a:rPr lang="ru-RU" sz="700" dirty="0">
                <a:solidFill>
                  <a:schemeClr val="bg2"/>
                </a:solidFill>
              </a:rPr>
              <a:t>Источник данных: Омнибус GfK Ukraine (ежемесячный опрос 1000 респондентов методом личного интервью на дому по аудитории населения Украины в возрасте 16 лет и старше</a:t>
            </a:r>
            <a:r>
              <a:rPr lang="ru-RU" sz="700" dirty="0" smtClean="0">
                <a:solidFill>
                  <a:schemeClr val="bg2"/>
                </a:solidFill>
              </a:rPr>
              <a:t>). За исключением Крыма и «зоны АТО»</a:t>
            </a:r>
            <a:endParaRPr lang="uk-UA" sz="700" dirty="0">
              <a:solidFill>
                <a:schemeClr val="bg2"/>
              </a:solidFill>
            </a:endParaRPr>
          </a:p>
          <a:p>
            <a:pPr marL="71978" indent="-107968" fontAlgn="auto">
              <a:spcBef>
                <a:spcPts val="0"/>
              </a:spcBef>
              <a:buFont typeface="Arial" pitchFamily="34" charset="0"/>
              <a:buAutoNum type="arabicPeriod"/>
              <a:defRPr/>
            </a:pPr>
            <a:endParaRPr lang="uk-UA" sz="700" dirty="0">
              <a:solidFill>
                <a:schemeClr val="bg2"/>
              </a:solidFill>
            </a:endParaRPr>
          </a:p>
        </p:txBody>
      </p:sp>
      <p:sp>
        <p:nvSpPr>
          <p:cNvPr id="19" name="Freeform 6"/>
          <p:cNvSpPr>
            <a:spLocks/>
          </p:cNvSpPr>
          <p:nvPr/>
        </p:nvSpPr>
        <p:spPr bwMode="auto">
          <a:xfrm rot="21026053">
            <a:off x="828846" y="902376"/>
            <a:ext cx="2927162" cy="1993371"/>
          </a:xfrm>
          <a:custGeom>
            <a:avLst/>
            <a:gdLst/>
            <a:ahLst/>
            <a:cxnLst>
              <a:cxn ang="0">
                <a:pos x="14" y="19"/>
              </a:cxn>
              <a:cxn ang="0">
                <a:pos x="14" y="27"/>
              </a:cxn>
              <a:cxn ang="0">
                <a:pos x="6" y="41"/>
              </a:cxn>
              <a:cxn ang="0">
                <a:pos x="3" y="46"/>
              </a:cxn>
              <a:cxn ang="0">
                <a:pos x="5" y="53"/>
              </a:cxn>
              <a:cxn ang="0">
                <a:pos x="6" y="55"/>
              </a:cxn>
              <a:cxn ang="0">
                <a:pos x="12" y="55"/>
              </a:cxn>
              <a:cxn ang="0">
                <a:pos x="24" y="58"/>
              </a:cxn>
              <a:cxn ang="0">
                <a:pos x="37" y="52"/>
              </a:cxn>
              <a:cxn ang="0">
                <a:pos x="52" y="53"/>
              </a:cxn>
              <a:cxn ang="0">
                <a:pos x="56" y="58"/>
              </a:cxn>
              <a:cxn ang="0">
                <a:pos x="61" y="67"/>
              </a:cxn>
              <a:cxn ang="0">
                <a:pos x="62" y="74"/>
              </a:cxn>
              <a:cxn ang="0">
                <a:pos x="55" y="75"/>
              </a:cxn>
              <a:cxn ang="0">
                <a:pos x="49" y="84"/>
              </a:cxn>
              <a:cxn ang="0">
                <a:pos x="56" y="86"/>
              </a:cxn>
              <a:cxn ang="0">
                <a:pos x="59" y="83"/>
              </a:cxn>
              <a:cxn ang="0">
                <a:pos x="68" y="74"/>
              </a:cxn>
              <a:cxn ang="0">
                <a:pos x="78" y="70"/>
              </a:cxn>
              <a:cxn ang="0">
                <a:pos x="82" y="72"/>
              </a:cxn>
              <a:cxn ang="0">
                <a:pos x="81" y="77"/>
              </a:cxn>
              <a:cxn ang="0">
                <a:pos x="91" y="78"/>
              </a:cxn>
              <a:cxn ang="0">
                <a:pos x="91" y="91"/>
              </a:cxn>
              <a:cxn ang="0">
                <a:pos x="100" y="92"/>
              </a:cxn>
              <a:cxn ang="0">
                <a:pos x="113" y="89"/>
              </a:cxn>
              <a:cxn ang="0">
                <a:pos x="111" y="84"/>
              </a:cxn>
              <a:cxn ang="0">
                <a:pos x="102" y="75"/>
              </a:cxn>
              <a:cxn ang="0">
                <a:pos x="111" y="70"/>
              </a:cxn>
              <a:cxn ang="0">
                <a:pos x="128" y="66"/>
              </a:cxn>
              <a:cxn ang="0">
                <a:pos x="141" y="55"/>
              </a:cxn>
              <a:cxn ang="0">
                <a:pos x="141" y="46"/>
              </a:cxn>
              <a:cxn ang="0">
                <a:pos x="143" y="41"/>
              </a:cxn>
              <a:cxn ang="0">
                <a:pos x="138" y="35"/>
              </a:cxn>
              <a:cxn ang="0">
                <a:pos x="125" y="30"/>
              </a:cxn>
              <a:cxn ang="0">
                <a:pos x="108" y="27"/>
              </a:cxn>
              <a:cxn ang="0">
                <a:pos x="99" y="16"/>
              </a:cxn>
              <a:cxn ang="0">
                <a:pos x="97" y="8"/>
              </a:cxn>
              <a:cxn ang="0">
                <a:pos x="88" y="3"/>
              </a:cxn>
              <a:cxn ang="0">
                <a:pos x="76" y="5"/>
              </a:cxn>
              <a:cxn ang="0">
                <a:pos x="65" y="14"/>
              </a:cxn>
              <a:cxn ang="0">
                <a:pos x="53" y="13"/>
              </a:cxn>
              <a:cxn ang="0">
                <a:pos x="38" y="10"/>
              </a:cxn>
              <a:cxn ang="0">
                <a:pos x="15" y="11"/>
              </a:cxn>
            </a:cxnLst>
            <a:rect l="0" t="0" r="r" b="b"/>
            <a:pathLst>
              <a:path w="144" h="98">
                <a:moveTo>
                  <a:pt x="12" y="13"/>
                </a:moveTo>
                <a:cubicBezTo>
                  <a:pt x="14" y="16"/>
                  <a:pt x="11" y="14"/>
                  <a:pt x="14" y="19"/>
                </a:cubicBezTo>
                <a:cubicBezTo>
                  <a:pt x="20" y="24"/>
                  <a:pt x="14" y="21"/>
                  <a:pt x="15" y="22"/>
                </a:cubicBezTo>
                <a:cubicBezTo>
                  <a:pt x="17" y="24"/>
                  <a:pt x="18" y="25"/>
                  <a:pt x="14" y="27"/>
                </a:cubicBezTo>
                <a:cubicBezTo>
                  <a:pt x="12" y="27"/>
                  <a:pt x="8" y="32"/>
                  <a:pt x="6" y="35"/>
                </a:cubicBezTo>
                <a:cubicBezTo>
                  <a:pt x="3" y="38"/>
                  <a:pt x="6" y="39"/>
                  <a:pt x="6" y="41"/>
                </a:cubicBezTo>
                <a:cubicBezTo>
                  <a:pt x="5" y="42"/>
                  <a:pt x="9" y="44"/>
                  <a:pt x="3" y="42"/>
                </a:cubicBezTo>
                <a:cubicBezTo>
                  <a:pt x="5" y="44"/>
                  <a:pt x="3" y="44"/>
                  <a:pt x="3" y="46"/>
                </a:cubicBezTo>
                <a:cubicBezTo>
                  <a:pt x="3" y="47"/>
                  <a:pt x="2" y="46"/>
                  <a:pt x="0" y="50"/>
                </a:cubicBezTo>
                <a:cubicBezTo>
                  <a:pt x="5" y="52"/>
                  <a:pt x="3" y="55"/>
                  <a:pt x="5" y="53"/>
                </a:cubicBezTo>
                <a:cubicBezTo>
                  <a:pt x="6" y="53"/>
                  <a:pt x="6" y="55"/>
                  <a:pt x="6" y="55"/>
                </a:cubicBezTo>
                <a:cubicBezTo>
                  <a:pt x="6" y="55"/>
                  <a:pt x="6" y="55"/>
                  <a:pt x="6" y="55"/>
                </a:cubicBezTo>
                <a:cubicBezTo>
                  <a:pt x="8" y="55"/>
                  <a:pt x="8" y="56"/>
                  <a:pt x="8" y="55"/>
                </a:cubicBezTo>
                <a:cubicBezTo>
                  <a:pt x="9" y="53"/>
                  <a:pt x="9" y="55"/>
                  <a:pt x="12" y="55"/>
                </a:cubicBezTo>
                <a:cubicBezTo>
                  <a:pt x="17" y="55"/>
                  <a:pt x="17" y="56"/>
                  <a:pt x="18" y="56"/>
                </a:cubicBezTo>
                <a:cubicBezTo>
                  <a:pt x="21" y="55"/>
                  <a:pt x="21" y="60"/>
                  <a:pt x="24" y="58"/>
                </a:cubicBezTo>
                <a:cubicBezTo>
                  <a:pt x="26" y="56"/>
                  <a:pt x="24" y="56"/>
                  <a:pt x="29" y="56"/>
                </a:cubicBezTo>
                <a:cubicBezTo>
                  <a:pt x="34" y="55"/>
                  <a:pt x="32" y="53"/>
                  <a:pt x="37" y="52"/>
                </a:cubicBezTo>
                <a:cubicBezTo>
                  <a:pt x="38" y="50"/>
                  <a:pt x="41" y="50"/>
                  <a:pt x="43" y="50"/>
                </a:cubicBezTo>
                <a:cubicBezTo>
                  <a:pt x="44" y="49"/>
                  <a:pt x="50" y="53"/>
                  <a:pt x="52" y="53"/>
                </a:cubicBezTo>
                <a:cubicBezTo>
                  <a:pt x="53" y="52"/>
                  <a:pt x="53" y="56"/>
                  <a:pt x="56" y="55"/>
                </a:cubicBezTo>
                <a:cubicBezTo>
                  <a:pt x="58" y="55"/>
                  <a:pt x="58" y="56"/>
                  <a:pt x="56" y="58"/>
                </a:cubicBezTo>
                <a:cubicBezTo>
                  <a:pt x="55" y="61"/>
                  <a:pt x="58" y="63"/>
                  <a:pt x="59" y="63"/>
                </a:cubicBezTo>
                <a:cubicBezTo>
                  <a:pt x="61" y="63"/>
                  <a:pt x="58" y="66"/>
                  <a:pt x="61" y="67"/>
                </a:cubicBezTo>
                <a:cubicBezTo>
                  <a:pt x="64" y="69"/>
                  <a:pt x="61" y="72"/>
                  <a:pt x="62" y="74"/>
                </a:cubicBezTo>
                <a:cubicBezTo>
                  <a:pt x="65" y="74"/>
                  <a:pt x="62" y="75"/>
                  <a:pt x="62" y="74"/>
                </a:cubicBezTo>
                <a:cubicBezTo>
                  <a:pt x="61" y="74"/>
                  <a:pt x="58" y="75"/>
                  <a:pt x="56" y="74"/>
                </a:cubicBezTo>
                <a:cubicBezTo>
                  <a:pt x="55" y="72"/>
                  <a:pt x="53" y="74"/>
                  <a:pt x="55" y="75"/>
                </a:cubicBezTo>
                <a:cubicBezTo>
                  <a:pt x="56" y="78"/>
                  <a:pt x="50" y="81"/>
                  <a:pt x="52" y="83"/>
                </a:cubicBezTo>
                <a:cubicBezTo>
                  <a:pt x="52" y="84"/>
                  <a:pt x="50" y="84"/>
                  <a:pt x="49" y="84"/>
                </a:cubicBezTo>
                <a:cubicBezTo>
                  <a:pt x="52" y="88"/>
                  <a:pt x="53" y="88"/>
                  <a:pt x="53" y="88"/>
                </a:cubicBezTo>
                <a:cubicBezTo>
                  <a:pt x="53" y="86"/>
                  <a:pt x="55" y="88"/>
                  <a:pt x="56" y="86"/>
                </a:cubicBezTo>
                <a:cubicBezTo>
                  <a:pt x="56" y="84"/>
                  <a:pt x="59" y="84"/>
                  <a:pt x="61" y="88"/>
                </a:cubicBezTo>
                <a:cubicBezTo>
                  <a:pt x="61" y="84"/>
                  <a:pt x="61" y="86"/>
                  <a:pt x="59" y="83"/>
                </a:cubicBezTo>
                <a:cubicBezTo>
                  <a:pt x="59" y="80"/>
                  <a:pt x="61" y="83"/>
                  <a:pt x="64" y="81"/>
                </a:cubicBezTo>
                <a:cubicBezTo>
                  <a:pt x="67" y="78"/>
                  <a:pt x="68" y="77"/>
                  <a:pt x="68" y="74"/>
                </a:cubicBezTo>
                <a:cubicBezTo>
                  <a:pt x="68" y="70"/>
                  <a:pt x="73" y="72"/>
                  <a:pt x="75" y="70"/>
                </a:cubicBezTo>
                <a:cubicBezTo>
                  <a:pt x="76" y="70"/>
                  <a:pt x="78" y="72"/>
                  <a:pt x="78" y="70"/>
                </a:cubicBezTo>
                <a:cubicBezTo>
                  <a:pt x="78" y="67"/>
                  <a:pt x="78" y="64"/>
                  <a:pt x="79" y="67"/>
                </a:cubicBezTo>
                <a:cubicBezTo>
                  <a:pt x="79" y="70"/>
                  <a:pt x="78" y="72"/>
                  <a:pt x="82" y="72"/>
                </a:cubicBezTo>
                <a:cubicBezTo>
                  <a:pt x="79" y="74"/>
                  <a:pt x="76" y="70"/>
                  <a:pt x="76" y="72"/>
                </a:cubicBezTo>
                <a:cubicBezTo>
                  <a:pt x="75" y="74"/>
                  <a:pt x="81" y="75"/>
                  <a:pt x="81" y="77"/>
                </a:cubicBezTo>
                <a:cubicBezTo>
                  <a:pt x="81" y="78"/>
                  <a:pt x="87" y="77"/>
                  <a:pt x="88" y="77"/>
                </a:cubicBezTo>
                <a:cubicBezTo>
                  <a:pt x="90" y="78"/>
                  <a:pt x="91" y="75"/>
                  <a:pt x="91" y="78"/>
                </a:cubicBezTo>
                <a:cubicBezTo>
                  <a:pt x="93" y="81"/>
                  <a:pt x="82" y="83"/>
                  <a:pt x="82" y="86"/>
                </a:cubicBezTo>
                <a:cubicBezTo>
                  <a:pt x="84" y="88"/>
                  <a:pt x="91" y="86"/>
                  <a:pt x="91" y="91"/>
                </a:cubicBezTo>
                <a:cubicBezTo>
                  <a:pt x="91" y="95"/>
                  <a:pt x="88" y="92"/>
                  <a:pt x="91" y="95"/>
                </a:cubicBezTo>
                <a:cubicBezTo>
                  <a:pt x="94" y="98"/>
                  <a:pt x="97" y="94"/>
                  <a:pt x="100" y="92"/>
                </a:cubicBezTo>
                <a:cubicBezTo>
                  <a:pt x="103" y="91"/>
                  <a:pt x="102" y="94"/>
                  <a:pt x="105" y="91"/>
                </a:cubicBezTo>
                <a:cubicBezTo>
                  <a:pt x="108" y="86"/>
                  <a:pt x="108" y="91"/>
                  <a:pt x="113" y="89"/>
                </a:cubicBezTo>
                <a:cubicBezTo>
                  <a:pt x="117" y="88"/>
                  <a:pt x="113" y="89"/>
                  <a:pt x="114" y="86"/>
                </a:cubicBezTo>
                <a:cubicBezTo>
                  <a:pt x="116" y="84"/>
                  <a:pt x="114" y="83"/>
                  <a:pt x="111" y="84"/>
                </a:cubicBezTo>
                <a:cubicBezTo>
                  <a:pt x="106" y="86"/>
                  <a:pt x="106" y="89"/>
                  <a:pt x="103" y="83"/>
                </a:cubicBezTo>
                <a:cubicBezTo>
                  <a:pt x="99" y="77"/>
                  <a:pt x="100" y="77"/>
                  <a:pt x="102" y="75"/>
                </a:cubicBezTo>
                <a:cubicBezTo>
                  <a:pt x="106" y="74"/>
                  <a:pt x="102" y="78"/>
                  <a:pt x="105" y="77"/>
                </a:cubicBezTo>
                <a:cubicBezTo>
                  <a:pt x="106" y="75"/>
                  <a:pt x="110" y="70"/>
                  <a:pt x="111" y="70"/>
                </a:cubicBezTo>
                <a:cubicBezTo>
                  <a:pt x="116" y="72"/>
                  <a:pt x="123" y="66"/>
                  <a:pt x="125" y="66"/>
                </a:cubicBezTo>
                <a:cubicBezTo>
                  <a:pt x="128" y="66"/>
                  <a:pt x="126" y="67"/>
                  <a:pt x="128" y="66"/>
                </a:cubicBezTo>
                <a:cubicBezTo>
                  <a:pt x="126" y="56"/>
                  <a:pt x="132" y="61"/>
                  <a:pt x="132" y="58"/>
                </a:cubicBezTo>
                <a:cubicBezTo>
                  <a:pt x="134" y="55"/>
                  <a:pt x="140" y="58"/>
                  <a:pt x="141" y="55"/>
                </a:cubicBezTo>
                <a:cubicBezTo>
                  <a:pt x="143" y="53"/>
                  <a:pt x="141" y="50"/>
                  <a:pt x="140" y="49"/>
                </a:cubicBezTo>
                <a:cubicBezTo>
                  <a:pt x="138" y="47"/>
                  <a:pt x="140" y="46"/>
                  <a:pt x="141" y="46"/>
                </a:cubicBezTo>
                <a:cubicBezTo>
                  <a:pt x="144" y="46"/>
                  <a:pt x="143" y="44"/>
                  <a:pt x="141" y="44"/>
                </a:cubicBezTo>
                <a:cubicBezTo>
                  <a:pt x="140" y="44"/>
                  <a:pt x="140" y="42"/>
                  <a:pt x="143" y="41"/>
                </a:cubicBezTo>
                <a:cubicBezTo>
                  <a:pt x="144" y="39"/>
                  <a:pt x="143" y="39"/>
                  <a:pt x="143" y="36"/>
                </a:cubicBezTo>
                <a:cubicBezTo>
                  <a:pt x="143" y="35"/>
                  <a:pt x="140" y="38"/>
                  <a:pt x="138" y="35"/>
                </a:cubicBezTo>
                <a:cubicBezTo>
                  <a:pt x="137" y="32"/>
                  <a:pt x="134" y="35"/>
                  <a:pt x="132" y="33"/>
                </a:cubicBezTo>
                <a:cubicBezTo>
                  <a:pt x="129" y="28"/>
                  <a:pt x="128" y="33"/>
                  <a:pt x="125" y="30"/>
                </a:cubicBezTo>
                <a:cubicBezTo>
                  <a:pt x="122" y="28"/>
                  <a:pt x="123" y="24"/>
                  <a:pt x="119" y="27"/>
                </a:cubicBezTo>
                <a:cubicBezTo>
                  <a:pt x="113" y="30"/>
                  <a:pt x="113" y="25"/>
                  <a:pt x="108" y="27"/>
                </a:cubicBezTo>
                <a:cubicBezTo>
                  <a:pt x="105" y="28"/>
                  <a:pt x="108" y="22"/>
                  <a:pt x="105" y="19"/>
                </a:cubicBezTo>
                <a:cubicBezTo>
                  <a:pt x="102" y="14"/>
                  <a:pt x="102" y="17"/>
                  <a:pt x="99" y="16"/>
                </a:cubicBezTo>
                <a:cubicBezTo>
                  <a:pt x="96" y="16"/>
                  <a:pt x="99" y="16"/>
                  <a:pt x="96" y="13"/>
                </a:cubicBezTo>
                <a:cubicBezTo>
                  <a:pt x="94" y="11"/>
                  <a:pt x="100" y="10"/>
                  <a:pt x="97" y="8"/>
                </a:cubicBezTo>
                <a:cubicBezTo>
                  <a:pt x="93" y="7"/>
                  <a:pt x="96" y="0"/>
                  <a:pt x="93" y="3"/>
                </a:cubicBezTo>
                <a:cubicBezTo>
                  <a:pt x="90" y="5"/>
                  <a:pt x="91" y="0"/>
                  <a:pt x="88" y="3"/>
                </a:cubicBezTo>
                <a:cubicBezTo>
                  <a:pt x="85" y="5"/>
                  <a:pt x="82" y="2"/>
                  <a:pt x="82" y="5"/>
                </a:cubicBezTo>
                <a:cubicBezTo>
                  <a:pt x="81" y="8"/>
                  <a:pt x="78" y="7"/>
                  <a:pt x="76" y="5"/>
                </a:cubicBezTo>
                <a:cubicBezTo>
                  <a:pt x="70" y="5"/>
                  <a:pt x="68" y="8"/>
                  <a:pt x="68" y="13"/>
                </a:cubicBezTo>
                <a:cubicBezTo>
                  <a:pt x="68" y="17"/>
                  <a:pt x="67" y="17"/>
                  <a:pt x="65" y="14"/>
                </a:cubicBezTo>
                <a:cubicBezTo>
                  <a:pt x="64" y="14"/>
                  <a:pt x="61" y="14"/>
                  <a:pt x="59" y="14"/>
                </a:cubicBezTo>
                <a:cubicBezTo>
                  <a:pt x="56" y="16"/>
                  <a:pt x="58" y="10"/>
                  <a:pt x="53" y="13"/>
                </a:cubicBezTo>
                <a:cubicBezTo>
                  <a:pt x="50" y="16"/>
                  <a:pt x="55" y="11"/>
                  <a:pt x="46" y="11"/>
                </a:cubicBezTo>
                <a:cubicBezTo>
                  <a:pt x="40" y="11"/>
                  <a:pt x="43" y="10"/>
                  <a:pt x="38" y="10"/>
                </a:cubicBezTo>
                <a:cubicBezTo>
                  <a:pt x="35" y="11"/>
                  <a:pt x="34" y="7"/>
                  <a:pt x="23" y="8"/>
                </a:cubicBezTo>
                <a:cubicBezTo>
                  <a:pt x="14" y="10"/>
                  <a:pt x="18" y="13"/>
                  <a:pt x="15" y="11"/>
                </a:cubicBezTo>
                <a:cubicBezTo>
                  <a:pt x="14" y="11"/>
                  <a:pt x="12" y="13"/>
                  <a:pt x="12" y="13"/>
                </a:cubicBezTo>
              </a:path>
            </a:pathLst>
          </a:custGeom>
          <a:solidFill>
            <a:srgbClr val="D2CBC9"/>
          </a:solidFill>
          <a:ln w="6350" cmpd="sng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en-GB">
              <a:latin typeface="+mj-lt"/>
            </a:endParaRPr>
          </a:p>
        </p:txBody>
      </p:sp>
      <p:sp>
        <p:nvSpPr>
          <p:cNvPr id="4" name="TextBox 3"/>
          <p:cNvSpPr txBox="1"/>
          <p:nvPr/>
        </p:nvSpPr>
        <p:spPr bwMode="gray">
          <a:xfrm>
            <a:off x="2123728" y="1321454"/>
            <a:ext cx="57260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i="1" dirty="0" smtClean="0">
                <a:latin typeface="Arial" pitchFamily="34" charset="0"/>
                <a:cs typeface="Arial" pitchFamily="34" charset="0"/>
              </a:rPr>
              <a:t>2016</a:t>
            </a:r>
            <a:endParaRPr lang="uk-UA" i="1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401334" y="1529729"/>
            <a:ext cx="216255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b="1" i="1" dirty="0">
                <a:latin typeface="+mn-lt"/>
              </a:rPr>
              <a:t>Покупали онлайн </a:t>
            </a:r>
            <a:r>
              <a:rPr lang="en-US" sz="1400" b="1" i="1" dirty="0">
                <a:latin typeface="+mn-lt"/>
              </a:rPr>
              <a:t>-</a:t>
            </a:r>
            <a:r>
              <a:rPr lang="ru-RU" sz="1400" b="1" i="1" dirty="0">
                <a:latin typeface="+mn-lt"/>
              </a:rPr>
              <a:t>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i="1" dirty="0" smtClean="0">
                <a:latin typeface="+mn-lt"/>
              </a:rPr>
              <a:t>3,6</a:t>
            </a:r>
            <a:r>
              <a:rPr lang="uk-UA" sz="1400" b="1" i="1" dirty="0" smtClean="0">
                <a:latin typeface="+mn-lt"/>
              </a:rPr>
              <a:t> </a:t>
            </a:r>
            <a:r>
              <a:rPr lang="uk-UA" sz="1400" b="1" i="1" dirty="0">
                <a:latin typeface="+mn-lt"/>
              </a:rPr>
              <a:t>млн.*</a:t>
            </a:r>
            <a:endParaRPr lang="ru-RU" sz="1400" b="1" i="1" cap="all" dirty="0">
              <a:latin typeface="+mn-lt"/>
            </a:endParaRPr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23850" y="195263"/>
            <a:ext cx="6408738" cy="576262"/>
          </a:xfrm>
        </p:spPr>
        <p:txBody>
          <a:bodyPr/>
          <a:lstStyle/>
          <a:p>
            <a:r>
              <a:rPr lang="ru-RU" dirty="0"/>
              <a:t>Количество интернет пользователей в </a:t>
            </a:r>
            <a:r>
              <a:rPr lang="ru-RU" dirty="0" smtClean="0"/>
              <a:t>Украине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363" y="1459363"/>
            <a:ext cx="8352244" cy="2956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951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Текст 4"/>
          <p:cNvSpPr txBox="1">
            <a:spLocks/>
          </p:cNvSpPr>
          <p:nvPr/>
        </p:nvSpPr>
        <p:spPr>
          <a:xfrm>
            <a:off x="244475" y="4803998"/>
            <a:ext cx="9053513" cy="22044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fontAlgn="auto">
              <a:spcBef>
                <a:spcPts val="0"/>
              </a:spcBef>
              <a:defRPr/>
            </a:pPr>
            <a:r>
              <a:rPr lang="ru-RU" sz="700" dirty="0" smtClean="0">
                <a:solidFill>
                  <a:schemeClr val="bg2"/>
                </a:solidFill>
              </a:rPr>
              <a:t>Источник </a:t>
            </a:r>
            <a:r>
              <a:rPr lang="ru-RU" sz="700" dirty="0">
                <a:solidFill>
                  <a:schemeClr val="bg2"/>
                </a:solidFill>
              </a:rPr>
              <a:t>данных: Исследование онлайн торговли Украины (ежегодный опрос 1000 Интернет пользователей по всей Украине методом онлайн </a:t>
            </a:r>
            <a:r>
              <a:rPr lang="ru-RU" sz="700" dirty="0" smtClean="0">
                <a:solidFill>
                  <a:schemeClr val="bg2"/>
                </a:solidFill>
              </a:rPr>
              <a:t>интервью)</a:t>
            </a:r>
            <a:r>
              <a:rPr lang="en-US" sz="700" dirty="0" smtClean="0">
                <a:solidFill>
                  <a:schemeClr val="bg2"/>
                </a:solidFill>
              </a:rPr>
              <a:t>. </a:t>
            </a:r>
            <a:r>
              <a:rPr lang="ru-RU" sz="700" dirty="0">
                <a:solidFill>
                  <a:schemeClr val="bg2"/>
                </a:solidFill>
              </a:rPr>
              <a:t>У</a:t>
            </a:r>
            <a:r>
              <a:rPr lang="ru-RU" sz="700" dirty="0" smtClean="0">
                <a:solidFill>
                  <a:schemeClr val="bg2"/>
                </a:solidFill>
              </a:rPr>
              <a:t>ровень </a:t>
            </a:r>
            <a:r>
              <a:rPr lang="ru-RU" sz="700" dirty="0">
                <a:solidFill>
                  <a:schemeClr val="bg2"/>
                </a:solidFill>
              </a:rPr>
              <a:t>значимости 90</a:t>
            </a:r>
            <a:r>
              <a:rPr lang="ru-RU" sz="700" dirty="0" smtClean="0">
                <a:solidFill>
                  <a:schemeClr val="bg2"/>
                </a:solidFill>
              </a:rPr>
              <a:t>%.</a:t>
            </a:r>
            <a:endParaRPr lang="uk-UA" sz="700" dirty="0">
              <a:solidFill>
                <a:schemeClr val="bg2"/>
              </a:solidFill>
            </a:endParaRPr>
          </a:p>
          <a:p>
            <a:pPr marL="71978" indent="-107968" fontAlgn="auto">
              <a:spcBef>
                <a:spcPts val="0"/>
              </a:spcBef>
              <a:buFont typeface="Arial" pitchFamily="34" charset="0"/>
              <a:buAutoNum type="arabicPeriod"/>
              <a:defRPr/>
            </a:pPr>
            <a:endParaRPr lang="uk-UA" sz="700" dirty="0">
              <a:solidFill>
                <a:schemeClr val="bg2"/>
              </a:solidFill>
            </a:endParaRPr>
          </a:p>
        </p:txBody>
      </p:sp>
      <p:sp>
        <p:nvSpPr>
          <p:cNvPr id="44" name="Title 3"/>
          <p:cNvSpPr>
            <a:spLocks noGrp="1"/>
          </p:cNvSpPr>
          <p:nvPr>
            <p:ph type="title"/>
          </p:nvPr>
        </p:nvSpPr>
        <p:spPr>
          <a:xfrm>
            <a:off x="323850" y="195263"/>
            <a:ext cx="6408738" cy="576262"/>
          </a:xfrm>
        </p:spPr>
        <p:txBody>
          <a:bodyPr/>
          <a:lstStyle/>
          <a:p>
            <a:r>
              <a:rPr lang="ru-RU" dirty="0"/>
              <a:t>«Интернет покупатели» vs. «не покупатели»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1347614"/>
            <a:ext cx="8852159" cy="3103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325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3306591" y="892860"/>
            <a:ext cx="45720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ru-RU" altLang="uk-UA" sz="1200" b="1" dirty="0">
                <a:solidFill>
                  <a:srgbClr val="000000"/>
                </a:solidFill>
              </a:rPr>
              <a:t>Какие категории товаров покупают в </a:t>
            </a:r>
            <a:r>
              <a:rPr lang="ru-RU" altLang="uk-UA" sz="1200" b="1" dirty="0" smtClean="0">
                <a:solidFill>
                  <a:srgbClr val="000000"/>
                </a:solidFill>
              </a:rPr>
              <a:t>интернете</a:t>
            </a:r>
            <a:endParaRPr lang="en-US" altLang="uk-UA" sz="1200" b="1" dirty="0">
              <a:solidFill>
                <a:srgbClr val="000000"/>
              </a:solidFill>
            </a:endParaRPr>
          </a:p>
          <a:p>
            <a:pPr algn="ctr" eaLnBrk="1" hangingPunct="1"/>
            <a:r>
              <a:rPr lang="ru-RU" altLang="uk-UA" sz="1200" b="1" dirty="0" smtClean="0">
                <a:solidFill>
                  <a:srgbClr val="000000"/>
                </a:solidFill>
              </a:rPr>
              <a:t>% </a:t>
            </a:r>
            <a:r>
              <a:rPr lang="ru-RU" altLang="uk-UA" sz="1200" b="1" dirty="0">
                <a:solidFill>
                  <a:srgbClr val="000000"/>
                </a:solidFill>
              </a:rPr>
              <a:t>ко всем покупателям в </a:t>
            </a:r>
            <a:r>
              <a:rPr lang="ru-RU" altLang="uk-UA" sz="1200" b="1" dirty="0" smtClean="0">
                <a:solidFill>
                  <a:srgbClr val="000000"/>
                </a:solidFill>
              </a:rPr>
              <a:t>интернете</a:t>
            </a:r>
            <a:endParaRPr lang="uk-UA" altLang="uk-UA" sz="1200" b="1" dirty="0">
              <a:solidFill>
                <a:srgbClr val="000000"/>
              </a:solidFill>
            </a:endParaRPr>
          </a:p>
        </p:txBody>
      </p:sp>
      <p:sp>
        <p:nvSpPr>
          <p:cNvPr id="34829" name="Текст 3"/>
          <p:cNvSpPr>
            <a:spLocks noGrp="1"/>
          </p:cNvSpPr>
          <p:nvPr>
            <p:ph type="body" sz="quarter" idx="4294967295"/>
          </p:nvPr>
        </p:nvSpPr>
        <p:spPr>
          <a:xfrm>
            <a:off x="354013" y="4705350"/>
            <a:ext cx="9064625" cy="3476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uk-UA" sz="700" dirty="0" smtClean="0">
                <a:solidFill>
                  <a:schemeClr val="bg2"/>
                </a:solidFill>
              </a:rPr>
              <a:t>Источник данных: Исследование онлайн торговли Украины (ежегодный опрос 1000 Интернет пользователей по всей Украине методом онлайн интервью)</a:t>
            </a:r>
          </a:p>
          <a:p>
            <a:pPr eaLnBrk="1" hangingPunct="1">
              <a:spcBef>
                <a:spcPct val="0"/>
              </a:spcBef>
            </a:pPr>
            <a:r>
              <a:rPr lang="ru-RU" altLang="uk-UA" sz="700" dirty="0" smtClean="0">
                <a:solidFill>
                  <a:schemeClr val="bg2"/>
                </a:solidFill>
              </a:rPr>
              <a:t>Стрелками обозначены статистически значимые изменения показателей по сравнению с предыдущей волной исследования - началом 2016 года (уровень значимости 90%)</a:t>
            </a:r>
            <a:endParaRPr lang="uk-UA" altLang="uk-UA" sz="700" dirty="0" smtClean="0">
              <a:solidFill>
                <a:schemeClr val="bg2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153303" y="897253"/>
            <a:ext cx="3266570" cy="2012963"/>
            <a:chOff x="153303" y="897253"/>
            <a:chExt cx="3266570" cy="2012963"/>
          </a:xfrm>
        </p:grpSpPr>
        <p:grpSp>
          <p:nvGrpSpPr>
            <p:cNvPr id="14" name="Group 13"/>
            <p:cNvGrpSpPr/>
            <p:nvPr/>
          </p:nvGrpSpPr>
          <p:grpSpPr>
            <a:xfrm>
              <a:off x="153303" y="897253"/>
              <a:ext cx="3266570" cy="2012963"/>
              <a:chOff x="114336" y="569135"/>
              <a:chExt cx="3553518" cy="2188661"/>
            </a:xfrm>
          </p:grpSpPr>
          <p:pic>
            <p:nvPicPr>
              <p:cNvPr id="122" name="Рисунок 48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6220" y="2227977"/>
                <a:ext cx="246146" cy="2326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4" name="Рисунок 50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30940" y="2235156"/>
                <a:ext cx="230951" cy="2182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5" name="Рисунок 51"/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54335" y="2227977"/>
                <a:ext cx="217277" cy="1859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" name="Rectangle 8"/>
              <p:cNvSpPr>
                <a:spLocks noChangeArrowheads="1"/>
              </p:cNvSpPr>
              <p:nvPr/>
            </p:nvSpPr>
            <p:spPr bwMode="auto">
              <a:xfrm>
                <a:off x="114336" y="569135"/>
                <a:ext cx="3553518" cy="5019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ru-RU" altLang="uk-UA" sz="1200" b="1" dirty="0">
                    <a:solidFill>
                      <a:srgbClr val="000000"/>
                    </a:solidFill>
                  </a:rPr>
                  <a:t>Совершают покупки в </a:t>
                </a:r>
                <a:r>
                  <a:rPr lang="en-US" altLang="uk-UA" sz="1200" b="1" dirty="0" smtClean="0">
                    <a:solidFill>
                      <a:srgbClr val="000000"/>
                    </a:solidFill>
                  </a:rPr>
                  <a:t>c</a:t>
                </a:r>
                <a:r>
                  <a:rPr lang="ru-RU" altLang="uk-UA" sz="1200" b="1" dirty="0" smtClean="0">
                    <a:solidFill>
                      <a:srgbClr val="000000"/>
                    </a:solidFill>
                  </a:rPr>
                  <a:t>оцсетях</a:t>
                </a:r>
                <a:endParaRPr lang="ru-RU" altLang="uk-UA" sz="1200" b="1" dirty="0">
                  <a:solidFill>
                    <a:srgbClr val="000000"/>
                  </a:solidFill>
                </a:endParaRPr>
              </a:p>
              <a:p>
                <a:pPr eaLnBrk="1" hangingPunct="1"/>
                <a:r>
                  <a:rPr lang="ru-RU" altLang="uk-UA" sz="1200" b="1" dirty="0">
                    <a:solidFill>
                      <a:srgbClr val="000000"/>
                    </a:solidFill>
                  </a:rPr>
                  <a:t>% ко всем покупателям в </a:t>
                </a:r>
                <a:r>
                  <a:rPr lang="ru-RU" altLang="uk-UA" sz="1200" b="1" dirty="0" smtClean="0">
                    <a:solidFill>
                      <a:srgbClr val="000000"/>
                    </a:solidFill>
                  </a:rPr>
                  <a:t>интернете</a:t>
                </a:r>
                <a:endParaRPr lang="uk-UA" altLang="uk-UA" sz="1200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26" name="Straight Arrow Connector 125"/>
              <p:cNvCxnSpPr/>
              <p:nvPr/>
            </p:nvCxnSpPr>
            <p:spPr>
              <a:xfrm flipV="1">
                <a:off x="2257851" y="1973497"/>
                <a:ext cx="0" cy="190850"/>
              </a:xfrm>
              <a:prstGeom prst="straightConnector1">
                <a:avLst/>
              </a:prstGeom>
              <a:ln w="19050">
                <a:solidFill>
                  <a:srgbClr val="00B050"/>
                </a:solidFill>
                <a:headEnd type="none" w="med" len="med"/>
                <a:tailEnd type="triangle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13" name="Rectangle 12"/>
              <p:cNvSpPr>
                <a:spLocks noChangeArrowheads="1"/>
              </p:cNvSpPr>
              <p:nvPr/>
            </p:nvSpPr>
            <p:spPr bwMode="auto">
              <a:xfrm>
                <a:off x="2610644" y="2121980"/>
                <a:ext cx="987621" cy="6358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ru-RU" altLang="uk-UA" sz="800" dirty="0"/>
                  <a:t>Не делал(а) покупки через социальные сети</a:t>
                </a:r>
                <a:endParaRPr lang="uk-UA" altLang="uk-UA" sz="800" dirty="0"/>
              </a:p>
            </p:txBody>
          </p:sp>
        </p:grpSp>
        <p:pic>
          <p:nvPicPr>
            <p:cNvPr id="123" name="Рисунок 49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1019" y="2415265"/>
              <a:ext cx="229268" cy="2292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" name="Group 5"/>
          <p:cNvGrpSpPr/>
          <p:nvPr/>
        </p:nvGrpSpPr>
        <p:grpSpPr>
          <a:xfrm>
            <a:off x="3989503" y="1036830"/>
            <a:ext cx="4880345" cy="1674935"/>
            <a:chOff x="3989503" y="1036830"/>
            <a:chExt cx="4880345" cy="1674935"/>
          </a:xfrm>
        </p:grpSpPr>
        <p:sp>
          <p:nvSpPr>
            <p:cNvPr id="34838" name="Freeform 91"/>
            <p:cNvSpPr>
              <a:spLocks noChangeAspect="1" noEditPoints="1"/>
            </p:cNvSpPr>
            <p:nvPr/>
          </p:nvSpPr>
          <p:spPr bwMode="auto">
            <a:xfrm>
              <a:off x="3989503" y="2459538"/>
              <a:ext cx="305249" cy="252227"/>
            </a:xfrm>
            <a:custGeom>
              <a:avLst/>
              <a:gdLst>
                <a:gd name="T0" fmla="*/ 2147483647 w 2080"/>
                <a:gd name="T1" fmla="*/ 0 h 2080"/>
                <a:gd name="T2" fmla="*/ 2147483647 w 2080"/>
                <a:gd name="T3" fmla="*/ 2147483647 h 2080"/>
                <a:gd name="T4" fmla="*/ 2147483647 w 2080"/>
                <a:gd name="T5" fmla="*/ 2147483647 h 2080"/>
                <a:gd name="T6" fmla="*/ 0 w 2080"/>
                <a:gd name="T7" fmla="*/ 2147483647 h 2080"/>
                <a:gd name="T8" fmla="*/ 2147483647 w 2080"/>
                <a:gd name="T9" fmla="*/ 0 h 2080"/>
                <a:gd name="T10" fmla="*/ 2147483647 w 2080"/>
                <a:gd name="T11" fmla="*/ 2147483647 h 2080"/>
                <a:gd name="T12" fmla="*/ 2147483647 w 2080"/>
                <a:gd name="T13" fmla="*/ 2147483647 h 2080"/>
                <a:gd name="T14" fmla="*/ 2147483647 w 2080"/>
                <a:gd name="T15" fmla="*/ 2147483647 h 2080"/>
                <a:gd name="T16" fmla="*/ 2147483647 w 2080"/>
                <a:gd name="T17" fmla="*/ 2147483647 h 2080"/>
                <a:gd name="T18" fmla="*/ 2147483647 w 2080"/>
                <a:gd name="T19" fmla="*/ 2147483647 h 2080"/>
                <a:gd name="T20" fmla="*/ 2147483647 w 2080"/>
                <a:gd name="T21" fmla="*/ 2147483647 h 2080"/>
                <a:gd name="T22" fmla="*/ 2147483647 w 2080"/>
                <a:gd name="T23" fmla="*/ 2147483647 h 2080"/>
                <a:gd name="T24" fmla="*/ 2147483647 w 2080"/>
                <a:gd name="T25" fmla="*/ 2147483647 h 2080"/>
                <a:gd name="T26" fmla="*/ 2147483647 w 2080"/>
                <a:gd name="T27" fmla="*/ 2147483647 h 2080"/>
                <a:gd name="T28" fmla="*/ 2147483647 w 2080"/>
                <a:gd name="T29" fmla="*/ 2147483647 h 2080"/>
                <a:gd name="T30" fmla="*/ 2147483647 w 2080"/>
                <a:gd name="T31" fmla="*/ 2147483647 h 2080"/>
                <a:gd name="T32" fmla="*/ 2147483647 w 2080"/>
                <a:gd name="T33" fmla="*/ 2147483647 h 2080"/>
                <a:gd name="T34" fmla="*/ 2147483647 w 2080"/>
                <a:gd name="T35" fmla="*/ 2147483647 h 2080"/>
                <a:gd name="T36" fmla="*/ 2147483647 w 2080"/>
                <a:gd name="T37" fmla="*/ 2147483647 h 2080"/>
                <a:gd name="T38" fmla="*/ 2147483647 w 2080"/>
                <a:gd name="T39" fmla="*/ 2147483647 h 2080"/>
                <a:gd name="T40" fmla="*/ 2147483647 w 2080"/>
                <a:gd name="T41" fmla="*/ 2147483647 h 2080"/>
                <a:gd name="T42" fmla="*/ 2147483647 w 2080"/>
                <a:gd name="T43" fmla="*/ 2147483647 h 2080"/>
                <a:gd name="T44" fmla="*/ 2147483647 w 2080"/>
                <a:gd name="T45" fmla="*/ 2147483647 h 2080"/>
                <a:gd name="T46" fmla="*/ 2147483647 w 2080"/>
                <a:gd name="T47" fmla="*/ 2147483647 h 2080"/>
                <a:gd name="T48" fmla="*/ 2147483647 w 2080"/>
                <a:gd name="T49" fmla="*/ 2147483647 h 2080"/>
                <a:gd name="T50" fmla="*/ 2147483647 w 2080"/>
                <a:gd name="T51" fmla="*/ 2147483647 h 2080"/>
                <a:gd name="T52" fmla="*/ 2147483647 w 2080"/>
                <a:gd name="T53" fmla="*/ 2147483647 h 2080"/>
                <a:gd name="T54" fmla="*/ 2147483647 w 2080"/>
                <a:gd name="T55" fmla="*/ 2147483647 h 2080"/>
                <a:gd name="T56" fmla="*/ 2147483647 w 2080"/>
                <a:gd name="T57" fmla="*/ 2147483647 h 2080"/>
                <a:gd name="T58" fmla="*/ 2147483647 w 2080"/>
                <a:gd name="T59" fmla="*/ 2147483647 h 2080"/>
                <a:gd name="T60" fmla="*/ 2147483647 w 2080"/>
                <a:gd name="T61" fmla="*/ 2147483647 h 2080"/>
                <a:gd name="T62" fmla="*/ 2147483647 w 2080"/>
                <a:gd name="T63" fmla="*/ 2147483647 h 2080"/>
                <a:gd name="T64" fmla="*/ 2147483647 w 2080"/>
                <a:gd name="T65" fmla="*/ 2147483647 h 2080"/>
                <a:gd name="T66" fmla="*/ 2147483647 w 2080"/>
                <a:gd name="T67" fmla="*/ 2147483647 h 2080"/>
                <a:gd name="T68" fmla="*/ 2147483647 w 2080"/>
                <a:gd name="T69" fmla="*/ 2147483647 h 2080"/>
                <a:gd name="T70" fmla="*/ 2147483647 w 2080"/>
                <a:gd name="T71" fmla="*/ 2147483647 h 2080"/>
                <a:gd name="T72" fmla="*/ 2147483647 w 2080"/>
                <a:gd name="T73" fmla="*/ 2147483647 h 2080"/>
                <a:gd name="T74" fmla="*/ 2147483647 w 2080"/>
                <a:gd name="T75" fmla="*/ 2147483647 h 2080"/>
                <a:gd name="T76" fmla="*/ 2147483647 w 2080"/>
                <a:gd name="T77" fmla="*/ 2147483647 h 2080"/>
                <a:gd name="T78" fmla="*/ 2147483647 w 2080"/>
                <a:gd name="T79" fmla="*/ 2147483647 h 2080"/>
                <a:gd name="T80" fmla="*/ 2147483647 w 2080"/>
                <a:gd name="T81" fmla="*/ 2147483647 h 208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80" h="2080">
                  <a:moveTo>
                    <a:pt x="1040" y="0"/>
                  </a:moveTo>
                  <a:cubicBezTo>
                    <a:pt x="1614" y="0"/>
                    <a:pt x="2080" y="466"/>
                    <a:pt x="2080" y="1040"/>
                  </a:cubicBezTo>
                  <a:cubicBezTo>
                    <a:pt x="2080" y="1615"/>
                    <a:pt x="1614" y="2080"/>
                    <a:pt x="1040" y="2080"/>
                  </a:cubicBezTo>
                  <a:cubicBezTo>
                    <a:pt x="465" y="2080"/>
                    <a:pt x="0" y="1615"/>
                    <a:pt x="0" y="1040"/>
                  </a:cubicBezTo>
                  <a:cubicBezTo>
                    <a:pt x="0" y="466"/>
                    <a:pt x="465" y="0"/>
                    <a:pt x="1040" y="0"/>
                  </a:cubicBezTo>
                  <a:close/>
                  <a:moveTo>
                    <a:pt x="1361" y="802"/>
                  </a:moveTo>
                  <a:cubicBezTo>
                    <a:pt x="1538" y="744"/>
                    <a:pt x="1538" y="744"/>
                    <a:pt x="1538" y="744"/>
                  </a:cubicBezTo>
                  <a:cubicBezTo>
                    <a:pt x="1584" y="820"/>
                    <a:pt x="1612" y="907"/>
                    <a:pt x="1618" y="999"/>
                  </a:cubicBezTo>
                  <a:cubicBezTo>
                    <a:pt x="1439" y="1057"/>
                    <a:pt x="1439" y="1057"/>
                    <a:pt x="1439" y="1057"/>
                  </a:cubicBezTo>
                  <a:cubicBezTo>
                    <a:pt x="1443" y="965"/>
                    <a:pt x="1416" y="876"/>
                    <a:pt x="1361" y="802"/>
                  </a:cubicBezTo>
                  <a:close/>
                  <a:moveTo>
                    <a:pt x="1367" y="1270"/>
                  </a:moveTo>
                  <a:cubicBezTo>
                    <a:pt x="1477" y="1421"/>
                    <a:pt x="1477" y="1421"/>
                    <a:pt x="1477" y="1421"/>
                  </a:cubicBezTo>
                  <a:cubicBezTo>
                    <a:pt x="1418" y="1489"/>
                    <a:pt x="1343" y="1543"/>
                    <a:pt x="1260" y="1577"/>
                  </a:cubicBezTo>
                  <a:cubicBezTo>
                    <a:pt x="1149" y="1425"/>
                    <a:pt x="1149" y="1425"/>
                    <a:pt x="1149" y="1425"/>
                  </a:cubicBezTo>
                  <a:cubicBezTo>
                    <a:pt x="1238" y="1400"/>
                    <a:pt x="1314" y="1345"/>
                    <a:pt x="1367" y="1270"/>
                  </a:cubicBezTo>
                  <a:close/>
                  <a:moveTo>
                    <a:pt x="930" y="1425"/>
                  </a:moveTo>
                  <a:cubicBezTo>
                    <a:pt x="820" y="1577"/>
                    <a:pt x="820" y="1577"/>
                    <a:pt x="820" y="1577"/>
                  </a:cubicBezTo>
                  <a:cubicBezTo>
                    <a:pt x="736" y="1543"/>
                    <a:pt x="662" y="1489"/>
                    <a:pt x="602" y="1421"/>
                  </a:cubicBezTo>
                  <a:cubicBezTo>
                    <a:pt x="712" y="1270"/>
                    <a:pt x="712" y="1270"/>
                    <a:pt x="712" y="1270"/>
                  </a:cubicBezTo>
                  <a:cubicBezTo>
                    <a:pt x="765" y="1345"/>
                    <a:pt x="842" y="1400"/>
                    <a:pt x="930" y="1425"/>
                  </a:cubicBezTo>
                  <a:close/>
                  <a:moveTo>
                    <a:pt x="640" y="1057"/>
                  </a:moveTo>
                  <a:cubicBezTo>
                    <a:pt x="461" y="999"/>
                    <a:pt x="461" y="999"/>
                    <a:pt x="461" y="999"/>
                  </a:cubicBezTo>
                  <a:cubicBezTo>
                    <a:pt x="468" y="907"/>
                    <a:pt x="496" y="820"/>
                    <a:pt x="541" y="744"/>
                  </a:cubicBezTo>
                  <a:cubicBezTo>
                    <a:pt x="718" y="802"/>
                    <a:pt x="718" y="802"/>
                    <a:pt x="718" y="802"/>
                  </a:cubicBezTo>
                  <a:cubicBezTo>
                    <a:pt x="663" y="876"/>
                    <a:pt x="636" y="965"/>
                    <a:pt x="640" y="1057"/>
                  </a:cubicBezTo>
                  <a:close/>
                  <a:moveTo>
                    <a:pt x="906" y="663"/>
                  </a:moveTo>
                  <a:cubicBezTo>
                    <a:pt x="906" y="476"/>
                    <a:pt x="906" y="476"/>
                    <a:pt x="906" y="476"/>
                  </a:cubicBezTo>
                  <a:cubicBezTo>
                    <a:pt x="949" y="465"/>
                    <a:pt x="994" y="460"/>
                    <a:pt x="1040" y="460"/>
                  </a:cubicBezTo>
                  <a:cubicBezTo>
                    <a:pt x="1086" y="460"/>
                    <a:pt x="1130" y="465"/>
                    <a:pt x="1173" y="476"/>
                  </a:cubicBezTo>
                  <a:cubicBezTo>
                    <a:pt x="1173" y="663"/>
                    <a:pt x="1173" y="663"/>
                    <a:pt x="1173" y="663"/>
                  </a:cubicBezTo>
                  <a:cubicBezTo>
                    <a:pt x="1088" y="633"/>
                    <a:pt x="992" y="633"/>
                    <a:pt x="906" y="663"/>
                  </a:cubicBezTo>
                  <a:close/>
                  <a:moveTo>
                    <a:pt x="1040" y="720"/>
                  </a:moveTo>
                  <a:cubicBezTo>
                    <a:pt x="863" y="720"/>
                    <a:pt x="720" y="863"/>
                    <a:pt x="720" y="1040"/>
                  </a:cubicBezTo>
                  <a:cubicBezTo>
                    <a:pt x="720" y="1217"/>
                    <a:pt x="863" y="1360"/>
                    <a:pt x="1040" y="1360"/>
                  </a:cubicBezTo>
                  <a:cubicBezTo>
                    <a:pt x="1216" y="1360"/>
                    <a:pt x="1360" y="1217"/>
                    <a:pt x="1360" y="1040"/>
                  </a:cubicBezTo>
                  <a:cubicBezTo>
                    <a:pt x="1360" y="863"/>
                    <a:pt x="1216" y="720"/>
                    <a:pt x="1040" y="720"/>
                  </a:cubicBezTo>
                  <a:close/>
                  <a:moveTo>
                    <a:pt x="1040" y="380"/>
                  </a:moveTo>
                  <a:cubicBezTo>
                    <a:pt x="675" y="380"/>
                    <a:pt x="380" y="676"/>
                    <a:pt x="380" y="1040"/>
                  </a:cubicBezTo>
                  <a:cubicBezTo>
                    <a:pt x="380" y="1405"/>
                    <a:pt x="675" y="1700"/>
                    <a:pt x="1040" y="1700"/>
                  </a:cubicBezTo>
                  <a:cubicBezTo>
                    <a:pt x="1404" y="1700"/>
                    <a:pt x="1700" y="1405"/>
                    <a:pt x="1700" y="1040"/>
                  </a:cubicBezTo>
                  <a:cubicBezTo>
                    <a:pt x="1700" y="676"/>
                    <a:pt x="1404" y="380"/>
                    <a:pt x="1040" y="3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412" tIns="45706" rIns="91412" bIns="45706"/>
            <a:lstStyle/>
            <a:p>
              <a:endParaRPr lang="en-US"/>
            </a:p>
          </p:txBody>
        </p:sp>
        <p:sp>
          <p:nvSpPr>
            <p:cNvPr id="93" name="Freeform 30"/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8510945" y="1036830"/>
              <a:ext cx="358903" cy="352425"/>
            </a:xfrm>
            <a:custGeom>
              <a:avLst/>
              <a:gdLst>
                <a:gd name="T0" fmla="*/ 1680 w 2080"/>
                <a:gd name="T1" fmla="*/ 1713 h 2113"/>
                <a:gd name="T2" fmla="*/ 1840 w 2080"/>
                <a:gd name="T3" fmla="*/ 1713 h 2113"/>
                <a:gd name="T4" fmla="*/ 388 w 2080"/>
                <a:gd name="T5" fmla="*/ 5 h 2113"/>
                <a:gd name="T6" fmla="*/ 920 w 2080"/>
                <a:gd name="T7" fmla="*/ 393 h 2113"/>
                <a:gd name="T8" fmla="*/ 1738 w 2080"/>
                <a:gd name="T9" fmla="*/ 0 h 2113"/>
                <a:gd name="T10" fmla="*/ 1105 w 2080"/>
                <a:gd name="T11" fmla="*/ 517 h 2113"/>
                <a:gd name="T12" fmla="*/ 2080 w 2080"/>
                <a:gd name="T13" fmla="*/ 553 h 2113"/>
                <a:gd name="T14" fmla="*/ 1920 w 2080"/>
                <a:gd name="T15" fmla="*/ 2033 h 2113"/>
                <a:gd name="T16" fmla="*/ 1600 w 2080"/>
                <a:gd name="T17" fmla="*/ 2113 h 2113"/>
                <a:gd name="T18" fmla="*/ 480 w 2080"/>
                <a:gd name="T19" fmla="*/ 2033 h 2113"/>
                <a:gd name="T20" fmla="*/ 160 w 2080"/>
                <a:gd name="T21" fmla="*/ 2113 h 2113"/>
                <a:gd name="T22" fmla="*/ 0 w 2080"/>
                <a:gd name="T23" fmla="*/ 2033 h 2113"/>
                <a:gd name="T24" fmla="*/ 724 w 2080"/>
                <a:gd name="T25" fmla="*/ 553 h 2113"/>
                <a:gd name="T26" fmla="*/ 332 w 2080"/>
                <a:gd name="T27" fmla="*/ 61 h 2113"/>
                <a:gd name="T28" fmla="*/ 1760 w 2080"/>
                <a:gd name="T29" fmla="*/ 1393 h 2113"/>
                <a:gd name="T30" fmla="*/ 1760 w 2080"/>
                <a:gd name="T31" fmla="*/ 1553 h 2113"/>
                <a:gd name="T32" fmla="*/ 1760 w 2080"/>
                <a:gd name="T33" fmla="*/ 1393 h 2113"/>
                <a:gd name="T34" fmla="*/ 1600 w 2080"/>
                <a:gd name="T35" fmla="*/ 1233 h 2113"/>
                <a:gd name="T36" fmla="*/ 1920 w 2080"/>
                <a:gd name="T37" fmla="*/ 1153 h 2113"/>
                <a:gd name="T38" fmla="*/ 1600 w 2080"/>
                <a:gd name="T39" fmla="*/ 993 h 2113"/>
                <a:gd name="T40" fmla="*/ 1920 w 2080"/>
                <a:gd name="T41" fmla="*/ 1073 h 2113"/>
                <a:gd name="T42" fmla="*/ 1600 w 2080"/>
                <a:gd name="T43" fmla="*/ 993 h 2113"/>
                <a:gd name="T44" fmla="*/ 1600 w 2080"/>
                <a:gd name="T45" fmla="*/ 913 h 2113"/>
                <a:gd name="T46" fmla="*/ 1920 w 2080"/>
                <a:gd name="T47" fmla="*/ 833 h 2113"/>
                <a:gd name="T48" fmla="*/ 400 w 2080"/>
                <a:gd name="T49" fmla="*/ 713 h 2113"/>
                <a:gd name="T50" fmla="*/ 160 w 2080"/>
                <a:gd name="T51" fmla="*/ 1633 h 2113"/>
                <a:gd name="T52" fmla="*/ 1280 w 2080"/>
                <a:gd name="T53" fmla="*/ 1873 h 2113"/>
                <a:gd name="T54" fmla="*/ 1520 w 2080"/>
                <a:gd name="T55" fmla="*/ 953 h 2113"/>
                <a:gd name="T56" fmla="*/ 400 w 2080"/>
                <a:gd name="T57" fmla="*/ 713 h 2113"/>
                <a:gd name="T58" fmla="*/ 1440 w 2080"/>
                <a:gd name="T59" fmla="*/ 953 h 2113"/>
                <a:gd name="T60" fmla="*/ 1280 w 2080"/>
                <a:gd name="T61" fmla="*/ 1793 h 2113"/>
                <a:gd name="T62" fmla="*/ 240 w 2080"/>
                <a:gd name="T63" fmla="*/ 1633 h 2113"/>
                <a:gd name="T64" fmla="*/ 400 w 2080"/>
                <a:gd name="T65" fmla="*/ 793 h 2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80" h="2113">
                  <a:moveTo>
                    <a:pt x="1760" y="1633"/>
                  </a:moveTo>
                  <a:cubicBezTo>
                    <a:pt x="1716" y="1633"/>
                    <a:pt x="1680" y="1669"/>
                    <a:pt x="1680" y="1713"/>
                  </a:cubicBezTo>
                  <a:cubicBezTo>
                    <a:pt x="1680" y="1757"/>
                    <a:pt x="1716" y="1793"/>
                    <a:pt x="1760" y="1793"/>
                  </a:cubicBezTo>
                  <a:cubicBezTo>
                    <a:pt x="1804" y="1793"/>
                    <a:pt x="1840" y="1757"/>
                    <a:pt x="1840" y="1713"/>
                  </a:cubicBezTo>
                  <a:cubicBezTo>
                    <a:pt x="1840" y="1669"/>
                    <a:pt x="1804" y="1633"/>
                    <a:pt x="1760" y="1633"/>
                  </a:cubicBezTo>
                  <a:close/>
                  <a:moveTo>
                    <a:pt x="388" y="5"/>
                  </a:moveTo>
                  <a:cubicBezTo>
                    <a:pt x="810" y="426"/>
                    <a:pt x="810" y="426"/>
                    <a:pt x="810" y="426"/>
                  </a:cubicBezTo>
                  <a:cubicBezTo>
                    <a:pt x="841" y="405"/>
                    <a:pt x="879" y="393"/>
                    <a:pt x="920" y="393"/>
                  </a:cubicBezTo>
                  <a:cubicBezTo>
                    <a:pt x="975" y="393"/>
                    <a:pt x="1025" y="415"/>
                    <a:pt x="1061" y="451"/>
                  </a:cubicBezTo>
                  <a:cubicBezTo>
                    <a:pt x="1738" y="0"/>
                    <a:pt x="1738" y="0"/>
                    <a:pt x="1738" y="0"/>
                  </a:cubicBezTo>
                  <a:cubicBezTo>
                    <a:pt x="1782" y="66"/>
                    <a:pt x="1782" y="66"/>
                    <a:pt x="1782" y="66"/>
                  </a:cubicBezTo>
                  <a:cubicBezTo>
                    <a:pt x="1105" y="517"/>
                    <a:pt x="1105" y="517"/>
                    <a:pt x="1105" y="517"/>
                  </a:cubicBezTo>
                  <a:cubicBezTo>
                    <a:pt x="1110" y="529"/>
                    <a:pt x="1114" y="541"/>
                    <a:pt x="1116" y="553"/>
                  </a:cubicBezTo>
                  <a:cubicBezTo>
                    <a:pt x="2080" y="553"/>
                    <a:pt x="2080" y="553"/>
                    <a:pt x="2080" y="553"/>
                  </a:cubicBezTo>
                  <a:cubicBezTo>
                    <a:pt x="2080" y="2033"/>
                    <a:pt x="2080" y="2033"/>
                    <a:pt x="2080" y="2033"/>
                  </a:cubicBezTo>
                  <a:cubicBezTo>
                    <a:pt x="1920" y="2033"/>
                    <a:pt x="1920" y="2033"/>
                    <a:pt x="1920" y="2033"/>
                  </a:cubicBezTo>
                  <a:cubicBezTo>
                    <a:pt x="1920" y="2113"/>
                    <a:pt x="1920" y="2113"/>
                    <a:pt x="1920" y="2113"/>
                  </a:cubicBezTo>
                  <a:cubicBezTo>
                    <a:pt x="1813" y="2113"/>
                    <a:pt x="1707" y="2113"/>
                    <a:pt x="1600" y="2113"/>
                  </a:cubicBezTo>
                  <a:cubicBezTo>
                    <a:pt x="1600" y="2033"/>
                    <a:pt x="1600" y="2033"/>
                    <a:pt x="1600" y="2033"/>
                  </a:cubicBezTo>
                  <a:cubicBezTo>
                    <a:pt x="480" y="2033"/>
                    <a:pt x="480" y="2033"/>
                    <a:pt x="480" y="2033"/>
                  </a:cubicBezTo>
                  <a:cubicBezTo>
                    <a:pt x="480" y="2113"/>
                    <a:pt x="480" y="2113"/>
                    <a:pt x="480" y="2113"/>
                  </a:cubicBezTo>
                  <a:cubicBezTo>
                    <a:pt x="160" y="2113"/>
                    <a:pt x="160" y="2113"/>
                    <a:pt x="160" y="2113"/>
                  </a:cubicBezTo>
                  <a:cubicBezTo>
                    <a:pt x="160" y="2033"/>
                    <a:pt x="160" y="2033"/>
                    <a:pt x="160" y="2033"/>
                  </a:cubicBezTo>
                  <a:cubicBezTo>
                    <a:pt x="0" y="2033"/>
                    <a:pt x="0" y="2033"/>
                    <a:pt x="0" y="2033"/>
                  </a:cubicBezTo>
                  <a:cubicBezTo>
                    <a:pt x="0" y="553"/>
                    <a:pt x="0" y="553"/>
                    <a:pt x="0" y="553"/>
                  </a:cubicBezTo>
                  <a:cubicBezTo>
                    <a:pt x="724" y="553"/>
                    <a:pt x="724" y="553"/>
                    <a:pt x="724" y="553"/>
                  </a:cubicBezTo>
                  <a:cubicBezTo>
                    <a:pt x="729" y="527"/>
                    <a:pt x="739" y="504"/>
                    <a:pt x="753" y="483"/>
                  </a:cubicBezTo>
                  <a:cubicBezTo>
                    <a:pt x="332" y="61"/>
                    <a:pt x="332" y="61"/>
                    <a:pt x="332" y="61"/>
                  </a:cubicBezTo>
                  <a:lnTo>
                    <a:pt x="388" y="5"/>
                  </a:lnTo>
                  <a:close/>
                  <a:moveTo>
                    <a:pt x="1760" y="1393"/>
                  </a:moveTo>
                  <a:cubicBezTo>
                    <a:pt x="1716" y="1393"/>
                    <a:pt x="1680" y="1429"/>
                    <a:pt x="1680" y="1473"/>
                  </a:cubicBezTo>
                  <a:cubicBezTo>
                    <a:pt x="1680" y="1517"/>
                    <a:pt x="1716" y="1553"/>
                    <a:pt x="1760" y="1553"/>
                  </a:cubicBezTo>
                  <a:cubicBezTo>
                    <a:pt x="1804" y="1553"/>
                    <a:pt x="1840" y="1517"/>
                    <a:pt x="1840" y="1473"/>
                  </a:cubicBezTo>
                  <a:cubicBezTo>
                    <a:pt x="1840" y="1429"/>
                    <a:pt x="1804" y="1393"/>
                    <a:pt x="1760" y="1393"/>
                  </a:cubicBezTo>
                  <a:close/>
                  <a:moveTo>
                    <a:pt x="1600" y="1153"/>
                  </a:moveTo>
                  <a:cubicBezTo>
                    <a:pt x="1600" y="1233"/>
                    <a:pt x="1600" y="1233"/>
                    <a:pt x="1600" y="1233"/>
                  </a:cubicBezTo>
                  <a:cubicBezTo>
                    <a:pt x="1920" y="1233"/>
                    <a:pt x="1920" y="1233"/>
                    <a:pt x="1920" y="1233"/>
                  </a:cubicBezTo>
                  <a:cubicBezTo>
                    <a:pt x="1920" y="1153"/>
                    <a:pt x="1920" y="1153"/>
                    <a:pt x="1920" y="1153"/>
                  </a:cubicBezTo>
                  <a:lnTo>
                    <a:pt x="1600" y="1153"/>
                  </a:lnTo>
                  <a:close/>
                  <a:moveTo>
                    <a:pt x="1600" y="993"/>
                  </a:moveTo>
                  <a:cubicBezTo>
                    <a:pt x="1600" y="1073"/>
                    <a:pt x="1600" y="1073"/>
                    <a:pt x="1600" y="1073"/>
                  </a:cubicBezTo>
                  <a:cubicBezTo>
                    <a:pt x="1920" y="1073"/>
                    <a:pt x="1920" y="1073"/>
                    <a:pt x="1920" y="1073"/>
                  </a:cubicBezTo>
                  <a:cubicBezTo>
                    <a:pt x="1920" y="993"/>
                    <a:pt x="1920" y="993"/>
                    <a:pt x="1920" y="993"/>
                  </a:cubicBezTo>
                  <a:lnTo>
                    <a:pt x="1600" y="993"/>
                  </a:lnTo>
                  <a:close/>
                  <a:moveTo>
                    <a:pt x="1600" y="833"/>
                  </a:moveTo>
                  <a:cubicBezTo>
                    <a:pt x="1600" y="913"/>
                    <a:pt x="1600" y="913"/>
                    <a:pt x="1600" y="913"/>
                  </a:cubicBezTo>
                  <a:cubicBezTo>
                    <a:pt x="1920" y="913"/>
                    <a:pt x="1920" y="913"/>
                    <a:pt x="1920" y="913"/>
                  </a:cubicBezTo>
                  <a:cubicBezTo>
                    <a:pt x="1920" y="833"/>
                    <a:pt x="1920" y="833"/>
                    <a:pt x="1920" y="833"/>
                  </a:cubicBezTo>
                  <a:lnTo>
                    <a:pt x="1600" y="833"/>
                  </a:lnTo>
                  <a:close/>
                  <a:moveTo>
                    <a:pt x="400" y="713"/>
                  </a:moveTo>
                  <a:cubicBezTo>
                    <a:pt x="268" y="713"/>
                    <a:pt x="160" y="821"/>
                    <a:pt x="160" y="953"/>
                  </a:cubicBezTo>
                  <a:cubicBezTo>
                    <a:pt x="160" y="1633"/>
                    <a:pt x="160" y="1633"/>
                    <a:pt x="160" y="1633"/>
                  </a:cubicBezTo>
                  <a:cubicBezTo>
                    <a:pt x="160" y="1765"/>
                    <a:pt x="268" y="1873"/>
                    <a:pt x="400" y="1873"/>
                  </a:cubicBezTo>
                  <a:cubicBezTo>
                    <a:pt x="1280" y="1873"/>
                    <a:pt x="1280" y="1873"/>
                    <a:pt x="1280" y="1873"/>
                  </a:cubicBezTo>
                  <a:cubicBezTo>
                    <a:pt x="1412" y="1873"/>
                    <a:pt x="1520" y="1765"/>
                    <a:pt x="1520" y="1633"/>
                  </a:cubicBezTo>
                  <a:cubicBezTo>
                    <a:pt x="1520" y="953"/>
                    <a:pt x="1520" y="953"/>
                    <a:pt x="1520" y="953"/>
                  </a:cubicBezTo>
                  <a:cubicBezTo>
                    <a:pt x="1520" y="821"/>
                    <a:pt x="1412" y="713"/>
                    <a:pt x="1280" y="713"/>
                  </a:cubicBezTo>
                  <a:lnTo>
                    <a:pt x="400" y="713"/>
                  </a:lnTo>
                  <a:close/>
                  <a:moveTo>
                    <a:pt x="1280" y="793"/>
                  </a:moveTo>
                  <a:cubicBezTo>
                    <a:pt x="1368" y="793"/>
                    <a:pt x="1440" y="865"/>
                    <a:pt x="1440" y="953"/>
                  </a:cubicBezTo>
                  <a:cubicBezTo>
                    <a:pt x="1440" y="1633"/>
                    <a:pt x="1440" y="1633"/>
                    <a:pt x="1440" y="1633"/>
                  </a:cubicBezTo>
                  <a:cubicBezTo>
                    <a:pt x="1440" y="1721"/>
                    <a:pt x="1368" y="1793"/>
                    <a:pt x="1280" y="1793"/>
                  </a:cubicBezTo>
                  <a:cubicBezTo>
                    <a:pt x="400" y="1793"/>
                    <a:pt x="400" y="1793"/>
                    <a:pt x="400" y="1793"/>
                  </a:cubicBezTo>
                  <a:cubicBezTo>
                    <a:pt x="312" y="1793"/>
                    <a:pt x="240" y="1721"/>
                    <a:pt x="240" y="1633"/>
                  </a:cubicBezTo>
                  <a:cubicBezTo>
                    <a:pt x="240" y="953"/>
                    <a:pt x="240" y="953"/>
                    <a:pt x="240" y="953"/>
                  </a:cubicBezTo>
                  <a:cubicBezTo>
                    <a:pt x="240" y="865"/>
                    <a:pt x="312" y="793"/>
                    <a:pt x="400" y="793"/>
                  </a:cubicBezTo>
                  <a:lnTo>
                    <a:pt x="1280" y="793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50" noProof="1">
                <a:latin typeface="+mn-lt"/>
              </a:endParaRPr>
            </a:p>
          </p:txBody>
        </p:sp>
        <p:sp>
          <p:nvSpPr>
            <p:cNvPr id="112" name="Freeform 89"/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7992029" y="1389255"/>
              <a:ext cx="351859" cy="199231"/>
            </a:xfrm>
            <a:custGeom>
              <a:avLst/>
              <a:gdLst>
                <a:gd name="T0" fmla="*/ 125 w 2160"/>
                <a:gd name="T1" fmla="*/ 1123 h 1640"/>
                <a:gd name="T2" fmla="*/ 1000 w 2160"/>
                <a:gd name="T3" fmla="*/ 672 h 1640"/>
                <a:gd name="T4" fmla="*/ 1000 w 2160"/>
                <a:gd name="T5" fmla="*/ 548 h 1640"/>
                <a:gd name="T6" fmla="*/ 800 w 2160"/>
                <a:gd name="T7" fmla="*/ 280 h 1640"/>
                <a:gd name="T8" fmla="*/ 1080 w 2160"/>
                <a:gd name="T9" fmla="*/ 0 h 1640"/>
                <a:gd name="T10" fmla="*/ 1360 w 2160"/>
                <a:gd name="T11" fmla="*/ 280 h 1640"/>
                <a:gd name="T12" fmla="*/ 1200 w 2160"/>
                <a:gd name="T13" fmla="*/ 280 h 1640"/>
                <a:gd name="T14" fmla="*/ 1080 w 2160"/>
                <a:gd name="T15" fmla="*/ 160 h 1640"/>
                <a:gd name="T16" fmla="*/ 960 w 2160"/>
                <a:gd name="T17" fmla="*/ 280 h 1640"/>
                <a:gd name="T18" fmla="*/ 1046 w 2160"/>
                <a:gd name="T19" fmla="*/ 395 h 1640"/>
                <a:gd name="T20" fmla="*/ 1160 w 2160"/>
                <a:gd name="T21" fmla="*/ 548 h 1640"/>
                <a:gd name="T22" fmla="*/ 1160 w 2160"/>
                <a:gd name="T23" fmla="*/ 672 h 1640"/>
                <a:gd name="T24" fmla="*/ 2035 w 2160"/>
                <a:gd name="T25" fmla="*/ 1123 h 1640"/>
                <a:gd name="T26" fmla="*/ 2160 w 2160"/>
                <a:gd name="T27" fmla="*/ 1334 h 1640"/>
                <a:gd name="T28" fmla="*/ 2160 w 2160"/>
                <a:gd name="T29" fmla="*/ 1400 h 1640"/>
                <a:gd name="T30" fmla="*/ 1920 w 2160"/>
                <a:gd name="T31" fmla="*/ 1640 h 1640"/>
                <a:gd name="T32" fmla="*/ 240 w 2160"/>
                <a:gd name="T33" fmla="*/ 1640 h 1640"/>
                <a:gd name="T34" fmla="*/ 0 w 2160"/>
                <a:gd name="T35" fmla="*/ 1400 h 1640"/>
                <a:gd name="T36" fmla="*/ 0 w 2160"/>
                <a:gd name="T37" fmla="*/ 1334 h 1640"/>
                <a:gd name="T38" fmla="*/ 125 w 2160"/>
                <a:gd name="T39" fmla="*/ 1123 h 1640"/>
                <a:gd name="T40" fmla="*/ 1080 w 2160"/>
                <a:gd name="T41" fmla="*/ 810 h 1640"/>
                <a:gd name="T42" fmla="*/ 198 w 2160"/>
                <a:gd name="T43" fmla="*/ 1265 h 1640"/>
                <a:gd name="T44" fmla="*/ 160 w 2160"/>
                <a:gd name="T45" fmla="*/ 1334 h 1640"/>
                <a:gd name="T46" fmla="*/ 160 w 2160"/>
                <a:gd name="T47" fmla="*/ 1400 h 1640"/>
                <a:gd name="T48" fmla="*/ 240 w 2160"/>
                <a:gd name="T49" fmla="*/ 1480 h 1640"/>
                <a:gd name="T50" fmla="*/ 1920 w 2160"/>
                <a:gd name="T51" fmla="*/ 1480 h 1640"/>
                <a:gd name="T52" fmla="*/ 2000 w 2160"/>
                <a:gd name="T53" fmla="*/ 1400 h 1640"/>
                <a:gd name="T54" fmla="*/ 2000 w 2160"/>
                <a:gd name="T55" fmla="*/ 1334 h 1640"/>
                <a:gd name="T56" fmla="*/ 1962 w 2160"/>
                <a:gd name="T57" fmla="*/ 1265 h 1640"/>
                <a:gd name="T58" fmla="*/ 1080 w 2160"/>
                <a:gd name="T59" fmla="*/ 810 h 1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60" h="1640">
                  <a:moveTo>
                    <a:pt x="125" y="1123"/>
                  </a:moveTo>
                  <a:cubicBezTo>
                    <a:pt x="1000" y="672"/>
                    <a:pt x="1000" y="672"/>
                    <a:pt x="1000" y="672"/>
                  </a:cubicBezTo>
                  <a:cubicBezTo>
                    <a:pt x="1000" y="548"/>
                    <a:pt x="1000" y="548"/>
                    <a:pt x="1000" y="548"/>
                  </a:cubicBezTo>
                  <a:cubicBezTo>
                    <a:pt x="882" y="513"/>
                    <a:pt x="800" y="403"/>
                    <a:pt x="800" y="280"/>
                  </a:cubicBezTo>
                  <a:cubicBezTo>
                    <a:pt x="800" y="125"/>
                    <a:pt x="925" y="0"/>
                    <a:pt x="1080" y="0"/>
                  </a:cubicBezTo>
                  <a:cubicBezTo>
                    <a:pt x="1235" y="0"/>
                    <a:pt x="1360" y="125"/>
                    <a:pt x="1360" y="280"/>
                  </a:cubicBezTo>
                  <a:cubicBezTo>
                    <a:pt x="1200" y="280"/>
                    <a:pt x="1200" y="280"/>
                    <a:pt x="1200" y="280"/>
                  </a:cubicBezTo>
                  <a:cubicBezTo>
                    <a:pt x="1200" y="214"/>
                    <a:pt x="1146" y="160"/>
                    <a:pt x="1080" y="160"/>
                  </a:cubicBezTo>
                  <a:cubicBezTo>
                    <a:pt x="1014" y="160"/>
                    <a:pt x="960" y="214"/>
                    <a:pt x="960" y="280"/>
                  </a:cubicBezTo>
                  <a:cubicBezTo>
                    <a:pt x="960" y="333"/>
                    <a:pt x="994" y="380"/>
                    <a:pt x="1046" y="395"/>
                  </a:cubicBezTo>
                  <a:cubicBezTo>
                    <a:pt x="1114" y="416"/>
                    <a:pt x="1160" y="477"/>
                    <a:pt x="1160" y="548"/>
                  </a:cubicBezTo>
                  <a:cubicBezTo>
                    <a:pt x="1160" y="672"/>
                    <a:pt x="1160" y="672"/>
                    <a:pt x="1160" y="672"/>
                  </a:cubicBezTo>
                  <a:cubicBezTo>
                    <a:pt x="2035" y="1123"/>
                    <a:pt x="2035" y="1123"/>
                    <a:pt x="2035" y="1123"/>
                  </a:cubicBezTo>
                  <a:cubicBezTo>
                    <a:pt x="2114" y="1164"/>
                    <a:pt x="2160" y="1245"/>
                    <a:pt x="2160" y="1334"/>
                  </a:cubicBezTo>
                  <a:cubicBezTo>
                    <a:pt x="2160" y="1400"/>
                    <a:pt x="2160" y="1400"/>
                    <a:pt x="2160" y="1400"/>
                  </a:cubicBezTo>
                  <a:cubicBezTo>
                    <a:pt x="2160" y="1532"/>
                    <a:pt x="2052" y="1640"/>
                    <a:pt x="1920" y="1640"/>
                  </a:cubicBezTo>
                  <a:cubicBezTo>
                    <a:pt x="240" y="1640"/>
                    <a:pt x="240" y="1640"/>
                    <a:pt x="240" y="1640"/>
                  </a:cubicBezTo>
                  <a:cubicBezTo>
                    <a:pt x="108" y="1640"/>
                    <a:pt x="0" y="1532"/>
                    <a:pt x="0" y="1400"/>
                  </a:cubicBezTo>
                  <a:cubicBezTo>
                    <a:pt x="0" y="1334"/>
                    <a:pt x="0" y="1334"/>
                    <a:pt x="0" y="1334"/>
                  </a:cubicBezTo>
                  <a:cubicBezTo>
                    <a:pt x="0" y="1245"/>
                    <a:pt x="46" y="1164"/>
                    <a:pt x="125" y="1123"/>
                  </a:cubicBezTo>
                  <a:close/>
                  <a:moveTo>
                    <a:pt x="1080" y="810"/>
                  </a:moveTo>
                  <a:cubicBezTo>
                    <a:pt x="198" y="1265"/>
                    <a:pt x="198" y="1265"/>
                    <a:pt x="198" y="1265"/>
                  </a:cubicBezTo>
                  <a:cubicBezTo>
                    <a:pt x="172" y="1279"/>
                    <a:pt x="160" y="1304"/>
                    <a:pt x="160" y="1334"/>
                  </a:cubicBezTo>
                  <a:cubicBezTo>
                    <a:pt x="160" y="1400"/>
                    <a:pt x="160" y="1400"/>
                    <a:pt x="160" y="1400"/>
                  </a:cubicBezTo>
                  <a:cubicBezTo>
                    <a:pt x="160" y="1444"/>
                    <a:pt x="196" y="1480"/>
                    <a:pt x="240" y="1480"/>
                  </a:cubicBezTo>
                  <a:cubicBezTo>
                    <a:pt x="1920" y="1480"/>
                    <a:pt x="1920" y="1480"/>
                    <a:pt x="1920" y="1480"/>
                  </a:cubicBezTo>
                  <a:cubicBezTo>
                    <a:pt x="1964" y="1480"/>
                    <a:pt x="2000" y="1444"/>
                    <a:pt x="2000" y="1400"/>
                  </a:cubicBezTo>
                  <a:cubicBezTo>
                    <a:pt x="2000" y="1334"/>
                    <a:pt x="2000" y="1334"/>
                    <a:pt x="2000" y="1334"/>
                  </a:cubicBezTo>
                  <a:cubicBezTo>
                    <a:pt x="2000" y="1304"/>
                    <a:pt x="1988" y="1279"/>
                    <a:pt x="1962" y="1265"/>
                  </a:cubicBezTo>
                  <a:lnTo>
                    <a:pt x="1080" y="81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noProof="1">
                <a:latin typeface="+mn-lt"/>
              </a:endParaRPr>
            </a:p>
          </p:txBody>
        </p:sp>
        <p:sp>
          <p:nvSpPr>
            <p:cNvPr id="113" name="Freeform 97"/>
            <p:cNvSpPr>
              <a:spLocks noChangeAspect="1" noEditPoints="1"/>
            </p:cNvSpPr>
            <p:nvPr/>
          </p:nvSpPr>
          <p:spPr bwMode="auto">
            <a:xfrm>
              <a:off x="7504801" y="1826344"/>
              <a:ext cx="252413" cy="254000"/>
            </a:xfrm>
            <a:custGeom>
              <a:avLst/>
              <a:gdLst>
                <a:gd name="T0" fmla="*/ 1404 w 1924"/>
                <a:gd name="T1" fmla="*/ 884 h 2004"/>
                <a:gd name="T2" fmla="*/ 1924 w 1924"/>
                <a:gd name="T3" fmla="*/ 1684 h 2004"/>
                <a:gd name="T4" fmla="*/ 1804 w 1924"/>
                <a:gd name="T5" fmla="*/ 2004 h 2004"/>
                <a:gd name="T6" fmla="*/ 324 w 1924"/>
                <a:gd name="T7" fmla="*/ 1884 h 2004"/>
                <a:gd name="T8" fmla="*/ 478 w 1924"/>
                <a:gd name="T9" fmla="*/ 1126 h 2004"/>
                <a:gd name="T10" fmla="*/ 804 w 1924"/>
                <a:gd name="T11" fmla="*/ 204 h 2004"/>
                <a:gd name="T12" fmla="*/ 1324 w 1924"/>
                <a:gd name="T13" fmla="*/ 84 h 2004"/>
                <a:gd name="T14" fmla="*/ 1444 w 1924"/>
                <a:gd name="T15" fmla="*/ 564 h 2004"/>
                <a:gd name="T16" fmla="*/ 1524 w 1924"/>
                <a:gd name="T17" fmla="*/ 804 h 2004"/>
                <a:gd name="T18" fmla="*/ 724 w 1924"/>
                <a:gd name="T19" fmla="*/ 564 h 2004"/>
                <a:gd name="T20" fmla="*/ 804 w 1924"/>
                <a:gd name="T21" fmla="*/ 371 h 2004"/>
                <a:gd name="T22" fmla="*/ 1044 w 1924"/>
                <a:gd name="T23" fmla="*/ 364 h 2004"/>
                <a:gd name="T24" fmla="*/ 804 w 1924"/>
                <a:gd name="T25" fmla="*/ 358 h 2004"/>
                <a:gd name="T26" fmla="*/ 712 w 1924"/>
                <a:gd name="T27" fmla="*/ 334 h 2004"/>
                <a:gd name="T28" fmla="*/ 656 w 1924"/>
                <a:gd name="T29" fmla="*/ 391 h 2004"/>
                <a:gd name="T30" fmla="*/ 712 w 1924"/>
                <a:gd name="T31" fmla="*/ 334 h 2004"/>
                <a:gd name="T32" fmla="*/ 552 w 1924"/>
                <a:gd name="T33" fmla="*/ 471 h 2004"/>
                <a:gd name="T34" fmla="*/ 496 w 1924"/>
                <a:gd name="T35" fmla="*/ 414 h 2004"/>
                <a:gd name="T36" fmla="*/ 552 w 1924"/>
                <a:gd name="T37" fmla="*/ 254 h 2004"/>
                <a:gd name="T38" fmla="*/ 496 w 1924"/>
                <a:gd name="T39" fmla="*/ 311 h 2004"/>
                <a:gd name="T40" fmla="*/ 552 w 1924"/>
                <a:gd name="T41" fmla="*/ 254 h 2004"/>
                <a:gd name="T42" fmla="*/ 394 w 1924"/>
                <a:gd name="T43" fmla="*/ 551 h 2004"/>
                <a:gd name="T44" fmla="*/ 337 w 1924"/>
                <a:gd name="T45" fmla="*/ 494 h 2004"/>
                <a:gd name="T46" fmla="*/ 394 w 1924"/>
                <a:gd name="T47" fmla="*/ 334 h 2004"/>
                <a:gd name="T48" fmla="*/ 337 w 1924"/>
                <a:gd name="T49" fmla="*/ 391 h 2004"/>
                <a:gd name="T50" fmla="*/ 394 w 1924"/>
                <a:gd name="T51" fmla="*/ 334 h 2004"/>
                <a:gd name="T52" fmla="*/ 394 w 1924"/>
                <a:gd name="T53" fmla="*/ 231 h 2004"/>
                <a:gd name="T54" fmla="*/ 337 w 1924"/>
                <a:gd name="T55" fmla="*/ 174 h 2004"/>
                <a:gd name="T56" fmla="*/ 232 w 1924"/>
                <a:gd name="T57" fmla="*/ 254 h 2004"/>
                <a:gd name="T58" fmla="*/ 176 w 1924"/>
                <a:gd name="T59" fmla="*/ 311 h 2004"/>
                <a:gd name="T60" fmla="*/ 232 w 1924"/>
                <a:gd name="T61" fmla="*/ 254 h 2004"/>
                <a:gd name="T62" fmla="*/ 232 w 1924"/>
                <a:gd name="T63" fmla="*/ 151 h 2004"/>
                <a:gd name="T64" fmla="*/ 176 w 1924"/>
                <a:gd name="T65" fmla="*/ 94 h 2004"/>
                <a:gd name="T66" fmla="*/ 232 w 1924"/>
                <a:gd name="T67" fmla="*/ 574 h 2004"/>
                <a:gd name="T68" fmla="*/ 176 w 1924"/>
                <a:gd name="T69" fmla="*/ 631 h 2004"/>
                <a:gd name="T70" fmla="*/ 232 w 1924"/>
                <a:gd name="T71" fmla="*/ 574 h 2004"/>
                <a:gd name="T72" fmla="*/ 232 w 1924"/>
                <a:gd name="T73" fmla="*/ 471 h 2004"/>
                <a:gd name="T74" fmla="*/ 176 w 1924"/>
                <a:gd name="T75" fmla="*/ 415 h 2004"/>
                <a:gd name="T76" fmla="*/ 72 w 1924"/>
                <a:gd name="T77" fmla="*/ 175 h 2004"/>
                <a:gd name="T78" fmla="*/ 15 w 1924"/>
                <a:gd name="T79" fmla="*/ 232 h 2004"/>
                <a:gd name="T80" fmla="*/ 72 w 1924"/>
                <a:gd name="T81" fmla="*/ 175 h 2004"/>
                <a:gd name="T82" fmla="*/ 72 w 1924"/>
                <a:gd name="T83" fmla="*/ 73 h 2004"/>
                <a:gd name="T84" fmla="*/ 15 w 1924"/>
                <a:gd name="T85" fmla="*/ 16 h 2004"/>
                <a:gd name="T86" fmla="*/ 72 w 1924"/>
                <a:gd name="T87" fmla="*/ 496 h 2004"/>
                <a:gd name="T88" fmla="*/ 15 w 1924"/>
                <a:gd name="T89" fmla="*/ 553 h 2004"/>
                <a:gd name="T90" fmla="*/ 72 w 1924"/>
                <a:gd name="T91" fmla="*/ 496 h 2004"/>
                <a:gd name="T92" fmla="*/ 72 w 1924"/>
                <a:gd name="T93" fmla="*/ 393 h 2004"/>
                <a:gd name="T94" fmla="*/ 15 w 1924"/>
                <a:gd name="T95" fmla="*/ 336 h 2004"/>
                <a:gd name="T96" fmla="*/ 72 w 1924"/>
                <a:gd name="T97" fmla="*/ 656 h 2004"/>
                <a:gd name="T98" fmla="*/ 15 w 1924"/>
                <a:gd name="T99" fmla="*/ 713 h 2004"/>
                <a:gd name="T100" fmla="*/ 72 w 1924"/>
                <a:gd name="T101" fmla="*/ 656 h 2004"/>
                <a:gd name="T102" fmla="*/ 1762 w 1924"/>
                <a:gd name="T103" fmla="*/ 1284 h 2004"/>
                <a:gd name="T104" fmla="*/ 1404 w 1924"/>
                <a:gd name="T105" fmla="*/ 964 h 2004"/>
                <a:gd name="T106" fmla="*/ 546 w 1924"/>
                <a:gd name="T107" fmla="*/ 1169 h 2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24" h="2004">
                  <a:moveTo>
                    <a:pt x="844" y="884"/>
                  </a:moveTo>
                  <a:cubicBezTo>
                    <a:pt x="1404" y="884"/>
                    <a:pt x="1404" y="884"/>
                    <a:pt x="1404" y="884"/>
                  </a:cubicBezTo>
                  <a:cubicBezTo>
                    <a:pt x="1574" y="884"/>
                    <a:pt x="1702" y="1011"/>
                    <a:pt x="1783" y="1149"/>
                  </a:cubicBezTo>
                  <a:cubicBezTo>
                    <a:pt x="1872" y="1300"/>
                    <a:pt x="1924" y="1497"/>
                    <a:pt x="1924" y="1684"/>
                  </a:cubicBezTo>
                  <a:cubicBezTo>
                    <a:pt x="1924" y="1884"/>
                    <a:pt x="1924" y="1884"/>
                    <a:pt x="1924" y="1884"/>
                  </a:cubicBezTo>
                  <a:cubicBezTo>
                    <a:pt x="1924" y="1950"/>
                    <a:pt x="1870" y="2004"/>
                    <a:pt x="1804" y="2004"/>
                  </a:cubicBezTo>
                  <a:cubicBezTo>
                    <a:pt x="444" y="2004"/>
                    <a:pt x="444" y="2004"/>
                    <a:pt x="444" y="2004"/>
                  </a:cubicBezTo>
                  <a:cubicBezTo>
                    <a:pt x="378" y="2004"/>
                    <a:pt x="324" y="1950"/>
                    <a:pt x="324" y="1884"/>
                  </a:cubicBezTo>
                  <a:cubicBezTo>
                    <a:pt x="324" y="1684"/>
                    <a:pt x="324" y="1684"/>
                    <a:pt x="324" y="1684"/>
                  </a:cubicBezTo>
                  <a:cubicBezTo>
                    <a:pt x="324" y="1488"/>
                    <a:pt x="381" y="1279"/>
                    <a:pt x="478" y="1126"/>
                  </a:cubicBezTo>
                  <a:cubicBezTo>
                    <a:pt x="569" y="982"/>
                    <a:pt x="696" y="884"/>
                    <a:pt x="844" y="884"/>
                  </a:cubicBezTo>
                  <a:close/>
                  <a:moveTo>
                    <a:pt x="804" y="204"/>
                  </a:moveTo>
                  <a:cubicBezTo>
                    <a:pt x="804" y="138"/>
                    <a:pt x="857" y="84"/>
                    <a:pt x="924" y="84"/>
                  </a:cubicBezTo>
                  <a:cubicBezTo>
                    <a:pt x="1324" y="84"/>
                    <a:pt x="1324" y="84"/>
                    <a:pt x="1324" y="84"/>
                  </a:cubicBezTo>
                  <a:cubicBezTo>
                    <a:pt x="1390" y="84"/>
                    <a:pt x="1444" y="138"/>
                    <a:pt x="1444" y="204"/>
                  </a:cubicBezTo>
                  <a:cubicBezTo>
                    <a:pt x="1444" y="564"/>
                    <a:pt x="1444" y="564"/>
                    <a:pt x="1444" y="564"/>
                  </a:cubicBezTo>
                  <a:cubicBezTo>
                    <a:pt x="1524" y="564"/>
                    <a:pt x="1524" y="564"/>
                    <a:pt x="1524" y="564"/>
                  </a:cubicBezTo>
                  <a:cubicBezTo>
                    <a:pt x="1524" y="804"/>
                    <a:pt x="1524" y="804"/>
                    <a:pt x="1524" y="804"/>
                  </a:cubicBezTo>
                  <a:cubicBezTo>
                    <a:pt x="724" y="804"/>
                    <a:pt x="724" y="804"/>
                    <a:pt x="724" y="804"/>
                  </a:cubicBezTo>
                  <a:cubicBezTo>
                    <a:pt x="724" y="564"/>
                    <a:pt x="724" y="564"/>
                    <a:pt x="724" y="564"/>
                  </a:cubicBezTo>
                  <a:cubicBezTo>
                    <a:pt x="804" y="564"/>
                    <a:pt x="804" y="564"/>
                    <a:pt x="804" y="564"/>
                  </a:cubicBezTo>
                  <a:cubicBezTo>
                    <a:pt x="804" y="371"/>
                    <a:pt x="804" y="371"/>
                    <a:pt x="804" y="371"/>
                  </a:cubicBezTo>
                  <a:cubicBezTo>
                    <a:pt x="807" y="434"/>
                    <a:pt x="860" y="484"/>
                    <a:pt x="924" y="484"/>
                  </a:cubicBezTo>
                  <a:cubicBezTo>
                    <a:pt x="990" y="484"/>
                    <a:pt x="1044" y="431"/>
                    <a:pt x="1044" y="364"/>
                  </a:cubicBezTo>
                  <a:cubicBezTo>
                    <a:pt x="1044" y="298"/>
                    <a:pt x="990" y="244"/>
                    <a:pt x="924" y="244"/>
                  </a:cubicBezTo>
                  <a:cubicBezTo>
                    <a:pt x="860" y="244"/>
                    <a:pt x="807" y="295"/>
                    <a:pt x="804" y="358"/>
                  </a:cubicBezTo>
                  <a:lnTo>
                    <a:pt x="804" y="204"/>
                  </a:lnTo>
                  <a:close/>
                  <a:moveTo>
                    <a:pt x="712" y="334"/>
                  </a:moveTo>
                  <a:cubicBezTo>
                    <a:pt x="728" y="350"/>
                    <a:pt x="728" y="375"/>
                    <a:pt x="712" y="391"/>
                  </a:cubicBezTo>
                  <a:cubicBezTo>
                    <a:pt x="697" y="407"/>
                    <a:pt x="671" y="407"/>
                    <a:pt x="656" y="391"/>
                  </a:cubicBezTo>
                  <a:cubicBezTo>
                    <a:pt x="640" y="375"/>
                    <a:pt x="640" y="350"/>
                    <a:pt x="656" y="334"/>
                  </a:cubicBezTo>
                  <a:cubicBezTo>
                    <a:pt x="671" y="319"/>
                    <a:pt x="697" y="319"/>
                    <a:pt x="712" y="334"/>
                  </a:cubicBezTo>
                  <a:close/>
                  <a:moveTo>
                    <a:pt x="552" y="414"/>
                  </a:moveTo>
                  <a:cubicBezTo>
                    <a:pt x="568" y="430"/>
                    <a:pt x="568" y="455"/>
                    <a:pt x="552" y="471"/>
                  </a:cubicBezTo>
                  <a:cubicBezTo>
                    <a:pt x="537" y="487"/>
                    <a:pt x="511" y="487"/>
                    <a:pt x="496" y="471"/>
                  </a:cubicBezTo>
                  <a:cubicBezTo>
                    <a:pt x="480" y="455"/>
                    <a:pt x="480" y="430"/>
                    <a:pt x="496" y="414"/>
                  </a:cubicBezTo>
                  <a:cubicBezTo>
                    <a:pt x="511" y="399"/>
                    <a:pt x="537" y="399"/>
                    <a:pt x="552" y="414"/>
                  </a:cubicBezTo>
                  <a:close/>
                  <a:moveTo>
                    <a:pt x="552" y="254"/>
                  </a:moveTo>
                  <a:cubicBezTo>
                    <a:pt x="568" y="270"/>
                    <a:pt x="568" y="295"/>
                    <a:pt x="552" y="311"/>
                  </a:cubicBezTo>
                  <a:cubicBezTo>
                    <a:pt x="537" y="327"/>
                    <a:pt x="511" y="327"/>
                    <a:pt x="496" y="311"/>
                  </a:cubicBezTo>
                  <a:cubicBezTo>
                    <a:pt x="480" y="295"/>
                    <a:pt x="480" y="270"/>
                    <a:pt x="496" y="254"/>
                  </a:cubicBezTo>
                  <a:cubicBezTo>
                    <a:pt x="511" y="239"/>
                    <a:pt x="537" y="239"/>
                    <a:pt x="552" y="254"/>
                  </a:cubicBezTo>
                  <a:close/>
                  <a:moveTo>
                    <a:pt x="394" y="494"/>
                  </a:moveTo>
                  <a:cubicBezTo>
                    <a:pt x="409" y="509"/>
                    <a:pt x="409" y="535"/>
                    <a:pt x="394" y="551"/>
                  </a:cubicBezTo>
                  <a:cubicBezTo>
                    <a:pt x="378" y="566"/>
                    <a:pt x="353" y="566"/>
                    <a:pt x="337" y="551"/>
                  </a:cubicBezTo>
                  <a:cubicBezTo>
                    <a:pt x="322" y="535"/>
                    <a:pt x="322" y="509"/>
                    <a:pt x="337" y="494"/>
                  </a:cubicBezTo>
                  <a:cubicBezTo>
                    <a:pt x="353" y="478"/>
                    <a:pt x="378" y="478"/>
                    <a:pt x="394" y="494"/>
                  </a:cubicBezTo>
                  <a:close/>
                  <a:moveTo>
                    <a:pt x="394" y="334"/>
                  </a:moveTo>
                  <a:cubicBezTo>
                    <a:pt x="409" y="349"/>
                    <a:pt x="409" y="375"/>
                    <a:pt x="394" y="391"/>
                  </a:cubicBezTo>
                  <a:cubicBezTo>
                    <a:pt x="378" y="406"/>
                    <a:pt x="353" y="406"/>
                    <a:pt x="337" y="391"/>
                  </a:cubicBezTo>
                  <a:cubicBezTo>
                    <a:pt x="322" y="375"/>
                    <a:pt x="322" y="349"/>
                    <a:pt x="337" y="334"/>
                  </a:cubicBezTo>
                  <a:cubicBezTo>
                    <a:pt x="353" y="318"/>
                    <a:pt x="378" y="318"/>
                    <a:pt x="394" y="334"/>
                  </a:cubicBezTo>
                  <a:close/>
                  <a:moveTo>
                    <a:pt x="394" y="174"/>
                  </a:moveTo>
                  <a:cubicBezTo>
                    <a:pt x="409" y="190"/>
                    <a:pt x="409" y="215"/>
                    <a:pt x="394" y="231"/>
                  </a:cubicBezTo>
                  <a:cubicBezTo>
                    <a:pt x="378" y="247"/>
                    <a:pt x="353" y="247"/>
                    <a:pt x="337" y="231"/>
                  </a:cubicBezTo>
                  <a:cubicBezTo>
                    <a:pt x="322" y="215"/>
                    <a:pt x="322" y="190"/>
                    <a:pt x="337" y="174"/>
                  </a:cubicBezTo>
                  <a:cubicBezTo>
                    <a:pt x="353" y="159"/>
                    <a:pt x="378" y="159"/>
                    <a:pt x="394" y="174"/>
                  </a:cubicBezTo>
                  <a:close/>
                  <a:moveTo>
                    <a:pt x="232" y="254"/>
                  </a:moveTo>
                  <a:cubicBezTo>
                    <a:pt x="248" y="269"/>
                    <a:pt x="248" y="295"/>
                    <a:pt x="232" y="311"/>
                  </a:cubicBezTo>
                  <a:cubicBezTo>
                    <a:pt x="217" y="326"/>
                    <a:pt x="191" y="326"/>
                    <a:pt x="176" y="311"/>
                  </a:cubicBezTo>
                  <a:cubicBezTo>
                    <a:pt x="160" y="295"/>
                    <a:pt x="160" y="269"/>
                    <a:pt x="176" y="254"/>
                  </a:cubicBezTo>
                  <a:cubicBezTo>
                    <a:pt x="191" y="238"/>
                    <a:pt x="217" y="238"/>
                    <a:pt x="232" y="254"/>
                  </a:cubicBezTo>
                  <a:close/>
                  <a:moveTo>
                    <a:pt x="232" y="94"/>
                  </a:moveTo>
                  <a:cubicBezTo>
                    <a:pt x="248" y="110"/>
                    <a:pt x="248" y="135"/>
                    <a:pt x="232" y="151"/>
                  </a:cubicBezTo>
                  <a:cubicBezTo>
                    <a:pt x="217" y="167"/>
                    <a:pt x="191" y="167"/>
                    <a:pt x="176" y="151"/>
                  </a:cubicBezTo>
                  <a:cubicBezTo>
                    <a:pt x="160" y="135"/>
                    <a:pt x="160" y="110"/>
                    <a:pt x="176" y="94"/>
                  </a:cubicBezTo>
                  <a:cubicBezTo>
                    <a:pt x="191" y="79"/>
                    <a:pt x="217" y="79"/>
                    <a:pt x="232" y="94"/>
                  </a:cubicBezTo>
                  <a:close/>
                  <a:moveTo>
                    <a:pt x="232" y="574"/>
                  </a:moveTo>
                  <a:cubicBezTo>
                    <a:pt x="248" y="590"/>
                    <a:pt x="248" y="615"/>
                    <a:pt x="232" y="631"/>
                  </a:cubicBezTo>
                  <a:cubicBezTo>
                    <a:pt x="217" y="647"/>
                    <a:pt x="191" y="647"/>
                    <a:pt x="176" y="631"/>
                  </a:cubicBezTo>
                  <a:cubicBezTo>
                    <a:pt x="160" y="615"/>
                    <a:pt x="160" y="590"/>
                    <a:pt x="176" y="574"/>
                  </a:cubicBezTo>
                  <a:cubicBezTo>
                    <a:pt x="191" y="559"/>
                    <a:pt x="217" y="559"/>
                    <a:pt x="232" y="574"/>
                  </a:cubicBezTo>
                  <a:close/>
                  <a:moveTo>
                    <a:pt x="232" y="415"/>
                  </a:moveTo>
                  <a:cubicBezTo>
                    <a:pt x="248" y="430"/>
                    <a:pt x="248" y="456"/>
                    <a:pt x="232" y="471"/>
                  </a:cubicBezTo>
                  <a:cubicBezTo>
                    <a:pt x="217" y="487"/>
                    <a:pt x="191" y="487"/>
                    <a:pt x="176" y="471"/>
                  </a:cubicBezTo>
                  <a:cubicBezTo>
                    <a:pt x="160" y="456"/>
                    <a:pt x="160" y="430"/>
                    <a:pt x="176" y="415"/>
                  </a:cubicBezTo>
                  <a:cubicBezTo>
                    <a:pt x="191" y="399"/>
                    <a:pt x="217" y="399"/>
                    <a:pt x="232" y="415"/>
                  </a:cubicBezTo>
                  <a:close/>
                  <a:moveTo>
                    <a:pt x="72" y="175"/>
                  </a:moveTo>
                  <a:cubicBezTo>
                    <a:pt x="88" y="191"/>
                    <a:pt x="88" y="217"/>
                    <a:pt x="72" y="232"/>
                  </a:cubicBezTo>
                  <a:cubicBezTo>
                    <a:pt x="56" y="248"/>
                    <a:pt x="31" y="248"/>
                    <a:pt x="15" y="232"/>
                  </a:cubicBezTo>
                  <a:cubicBezTo>
                    <a:pt x="0" y="217"/>
                    <a:pt x="0" y="191"/>
                    <a:pt x="15" y="175"/>
                  </a:cubicBezTo>
                  <a:cubicBezTo>
                    <a:pt x="31" y="160"/>
                    <a:pt x="56" y="160"/>
                    <a:pt x="72" y="175"/>
                  </a:cubicBezTo>
                  <a:close/>
                  <a:moveTo>
                    <a:pt x="72" y="16"/>
                  </a:moveTo>
                  <a:cubicBezTo>
                    <a:pt x="88" y="31"/>
                    <a:pt x="88" y="57"/>
                    <a:pt x="72" y="73"/>
                  </a:cubicBezTo>
                  <a:cubicBezTo>
                    <a:pt x="56" y="88"/>
                    <a:pt x="31" y="88"/>
                    <a:pt x="15" y="73"/>
                  </a:cubicBezTo>
                  <a:cubicBezTo>
                    <a:pt x="0" y="57"/>
                    <a:pt x="0" y="31"/>
                    <a:pt x="15" y="16"/>
                  </a:cubicBezTo>
                  <a:cubicBezTo>
                    <a:pt x="31" y="0"/>
                    <a:pt x="56" y="0"/>
                    <a:pt x="72" y="16"/>
                  </a:cubicBezTo>
                  <a:close/>
                  <a:moveTo>
                    <a:pt x="72" y="496"/>
                  </a:moveTo>
                  <a:cubicBezTo>
                    <a:pt x="88" y="511"/>
                    <a:pt x="88" y="537"/>
                    <a:pt x="72" y="553"/>
                  </a:cubicBezTo>
                  <a:cubicBezTo>
                    <a:pt x="56" y="568"/>
                    <a:pt x="31" y="568"/>
                    <a:pt x="15" y="553"/>
                  </a:cubicBezTo>
                  <a:cubicBezTo>
                    <a:pt x="0" y="537"/>
                    <a:pt x="0" y="511"/>
                    <a:pt x="15" y="496"/>
                  </a:cubicBezTo>
                  <a:cubicBezTo>
                    <a:pt x="31" y="480"/>
                    <a:pt x="56" y="480"/>
                    <a:pt x="72" y="496"/>
                  </a:cubicBezTo>
                  <a:close/>
                  <a:moveTo>
                    <a:pt x="72" y="336"/>
                  </a:moveTo>
                  <a:cubicBezTo>
                    <a:pt x="88" y="352"/>
                    <a:pt x="88" y="377"/>
                    <a:pt x="72" y="393"/>
                  </a:cubicBezTo>
                  <a:cubicBezTo>
                    <a:pt x="56" y="409"/>
                    <a:pt x="31" y="409"/>
                    <a:pt x="15" y="393"/>
                  </a:cubicBezTo>
                  <a:cubicBezTo>
                    <a:pt x="0" y="377"/>
                    <a:pt x="0" y="352"/>
                    <a:pt x="15" y="336"/>
                  </a:cubicBezTo>
                  <a:cubicBezTo>
                    <a:pt x="31" y="321"/>
                    <a:pt x="56" y="321"/>
                    <a:pt x="72" y="336"/>
                  </a:cubicBezTo>
                  <a:close/>
                  <a:moveTo>
                    <a:pt x="72" y="656"/>
                  </a:moveTo>
                  <a:cubicBezTo>
                    <a:pt x="88" y="671"/>
                    <a:pt x="88" y="697"/>
                    <a:pt x="72" y="713"/>
                  </a:cubicBezTo>
                  <a:cubicBezTo>
                    <a:pt x="56" y="728"/>
                    <a:pt x="31" y="728"/>
                    <a:pt x="15" y="713"/>
                  </a:cubicBezTo>
                  <a:cubicBezTo>
                    <a:pt x="0" y="697"/>
                    <a:pt x="0" y="671"/>
                    <a:pt x="15" y="656"/>
                  </a:cubicBezTo>
                  <a:cubicBezTo>
                    <a:pt x="31" y="640"/>
                    <a:pt x="56" y="640"/>
                    <a:pt x="72" y="656"/>
                  </a:cubicBezTo>
                  <a:close/>
                  <a:moveTo>
                    <a:pt x="485" y="1284"/>
                  </a:moveTo>
                  <a:cubicBezTo>
                    <a:pt x="1762" y="1284"/>
                    <a:pt x="1762" y="1284"/>
                    <a:pt x="1762" y="1284"/>
                  </a:cubicBezTo>
                  <a:cubicBezTo>
                    <a:pt x="1748" y="1251"/>
                    <a:pt x="1732" y="1219"/>
                    <a:pt x="1714" y="1189"/>
                  </a:cubicBezTo>
                  <a:cubicBezTo>
                    <a:pt x="1636" y="1056"/>
                    <a:pt x="1528" y="964"/>
                    <a:pt x="1404" y="964"/>
                  </a:cubicBezTo>
                  <a:cubicBezTo>
                    <a:pt x="844" y="964"/>
                    <a:pt x="844" y="964"/>
                    <a:pt x="844" y="964"/>
                  </a:cubicBezTo>
                  <a:cubicBezTo>
                    <a:pt x="726" y="964"/>
                    <a:pt x="623" y="1047"/>
                    <a:pt x="546" y="1169"/>
                  </a:cubicBezTo>
                  <a:cubicBezTo>
                    <a:pt x="523" y="1204"/>
                    <a:pt x="503" y="1243"/>
                    <a:pt x="485" y="128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25" dirty="0"/>
            </a:p>
          </p:txBody>
        </p:sp>
        <p:sp>
          <p:nvSpPr>
            <p:cNvPr id="114" name="Freeform 31"/>
            <p:cNvSpPr>
              <a:spLocks noChangeAspect="1" noEditPoints="1"/>
            </p:cNvSpPr>
            <p:nvPr/>
          </p:nvSpPr>
          <p:spPr bwMode="auto">
            <a:xfrm>
              <a:off x="5992221" y="2135381"/>
              <a:ext cx="327025" cy="347661"/>
            </a:xfrm>
            <a:custGeom>
              <a:avLst/>
              <a:gdLst>
                <a:gd name="T0" fmla="*/ 520 w 2080"/>
                <a:gd name="T1" fmla="*/ 600 h 2280"/>
                <a:gd name="T2" fmla="*/ 320 w 2080"/>
                <a:gd name="T3" fmla="*/ 280 h 2280"/>
                <a:gd name="T4" fmla="*/ 798 w 2080"/>
                <a:gd name="T5" fmla="*/ 82 h 2280"/>
                <a:gd name="T6" fmla="*/ 1040 w 2080"/>
                <a:gd name="T7" fmla="*/ 80 h 2280"/>
                <a:gd name="T8" fmla="*/ 1282 w 2080"/>
                <a:gd name="T9" fmla="*/ 82 h 2280"/>
                <a:gd name="T10" fmla="*/ 1760 w 2080"/>
                <a:gd name="T11" fmla="*/ 280 h 2280"/>
                <a:gd name="T12" fmla="*/ 1560 w 2080"/>
                <a:gd name="T13" fmla="*/ 600 h 2280"/>
                <a:gd name="T14" fmla="*/ 1380 w 2080"/>
                <a:gd name="T15" fmla="*/ 882 h 2280"/>
                <a:gd name="T16" fmla="*/ 1178 w 2080"/>
                <a:gd name="T17" fmla="*/ 626 h 2280"/>
                <a:gd name="T18" fmla="*/ 1040 w 2080"/>
                <a:gd name="T19" fmla="*/ 542 h 2280"/>
                <a:gd name="T20" fmla="*/ 901 w 2080"/>
                <a:gd name="T21" fmla="*/ 626 h 2280"/>
                <a:gd name="T22" fmla="*/ 700 w 2080"/>
                <a:gd name="T23" fmla="*/ 882 h 2280"/>
                <a:gd name="T24" fmla="*/ 431 w 2080"/>
                <a:gd name="T25" fmla="*/ 1490 h 2280"/>
                <a:gd name="T26" fmla="*/ 803 w 2080"/>
                <a:gd name="T27" fmla="*/ 1625 h 2280"/>
                <a:gd name="T28" fmla="*/ 769 w 2080"/>
                <a:gd name="T29" fmla="*/ 2214 h 2280"/>
                <a:gd name="T30" fmla="*/ 296 w 2080"/>
                <a:gd name="T31" fmla="*/ 1862 h 2280"/>
                <a:gd name="T32" fmla="*/ 1649 w 2080"/>
                <a:gd name="T33" fmla="*/ 1490 h 2280"/>
                <a:gd name="T34" fmla="*/ 1277 w 2080"/>
                <a:gd name="T35" fmla="*/ 1625 h 2280"/>
                <a:gd name="T36" fmla="*/ 1311 w 2080"/>
                <a:gd name="T37" fmla="*/ 2214 h 2280"/>
                <a:gd name="T38" fmla="*/ 1784 w 2080"/>
                <a:gd name="T39" fmla="*/ 1862 h 2280"/>
                <a:gd name="T40" fmla="*/ 1423 w 2080"/>
                <a:gd name="T41" fmla="*/ 1399 h 2280"/>
                <a:gd name="T42" fmla="*/ 1374 w 2080"/>
                <a:gd name="T43" fmla="*/ 1420 h 2280"/>
                <a:gd name="T44" fmla="*/ 1103 w 2080"/>
                <a:gd name="T45" fmla="*/ 1809 h 2280"/>
                <a:gd name="T46" fmla="*/ 955 w 2080"/>
                <a:gd name="T47" fmla="*/ 2152 h 2280"/>
                <a:gd name="T48" fmla="*/ 876 w 2080"/>
                <a:gd name="T49" fmla="*/ 1591 h 2280"/>
                <a:gd name="T50" fmla="*/ 764 w 2080"/>
                <a:gd name="T51" fmla="*/ 1338 h 2280"/>
                <a:gd name="T52" fmla="*/ 397 w 2080"/>
                <a:gd name="T53" fmla="*/ 1417 h 2280"/>
                <a:gd name="T54" fmla="*/ 0 w 2080"/>
                <a:gd name="T55" fmla="*/ 1440 h 2280"/>
                <a:gd name="T56" fmla="*/ 537 w 2080"/>
                <a:gd name="T57" fmla="*/ 927 h 2280"/>
                <a:gd name="T58" fmla="*/ 1543 w 2080"/>
                <a:gd name="T59" fmla="*/ 927 h 2280"/>
                <a:gd name="T60" fmla="*/ 2080 w 2080"/>
                <a:gd name="T61" fmla="*/ 1440 h 2280"/>
                <a:gd name="T62" fmla="*/ 1683 w 2080"/>
                <a:gd name="T63" fmla="*/ 1417 h 2280"/>
                <a:gd name="T64" fmla="*/ 1240 w 2080"/>
                <a:gd name="T65" fmla="*/ 400 h 2280"/>
                <a:gd name="T66" fmla="*/ 1240 w 2080"/>
                <a:gd name="T67" fmla="*/ 560 h 2280"/>
                <a:gd name="T68" fmla="*/ 1240 w 2080"/>
                <a:gd name="T69" fmla="*/ 400 h 2280"/>
                <a:gd name="T70" fmla="*/ 760 w 2080"/>
                <a:gd name="T71" fmla="*/ 480 h 2280"/>
                <a:gd name="T72" fmla="*/ 920 w 2080"/>
                <a:gd name="T73" fmla="*/ 480 h 2280"/>
                <a:gd name="T74" fmla="*/ 1227 w 2080"/>
                <a:gd name="T75" fmla="*/ 743 h 2280"/>
                <a:gd name="T76" fmla="*/ 1131 w 2080"/>
                <a:gd name="T77" fmla="*/ 718 h 2280"/>
                <a:gd name="T78" fmla="*/ 1080 w 2080"/>
                <a:gd name="T79" fmla="*/ 825 h 2280"/>
                <a:gd name="T80" fmla="*/ 1148 w 2080"/>
                <a:gd name="T81" fmla="*/ 950 h 2280"/>
                <a:gd name="T82" fmla="*/ 1040 w 2080"/>
                <a:gd name="T83" fmla="*/ 898 h 2280"/>
                <a:gd name="T84" fmla="*/ 932 w 2080"/>
                <a:gd name="T85" fmla="*/ 950 h 2280"/>
                <a:gd name="T86" fmla="*/ 1000 w 2080"/>
                <a:gd name="T87" fmla="*/ 825 h 2280"/>
                <a:gd name="T88" fmla="*/ 948 w 2080"/>
                <a:gd name="T89" fmla="*/ 718 h 2280"/>
                <a:gd name="T90" fmla="*/ 853 w 2080"/>
                <a:gd name="T91" fmla="*/ 743 h 2280"/>
                <a:gd name="T92" fmla="*/ 853 w 2080"/>
                <a:gd name="T93" fmla="*/ 1020 h 2280"/>
                <a:gd name="T94" fmla="*/ 1227 w 2080"/>
                <a:gd name="T95" fmla="*/ 1020 h 2280"/>
                <a:gd name="T96" fmla="*/ 1227 w 2080"/>
                <a:gd name="T97" fmla="*/ 743 h 2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080" h="2280">
                  <a:moveTo>
                    <a:pt x="756" y="1035"/>
                  </a:moveTo>
                  <a:cubicBezTo>
                    <a:pt x="609" y="939"/>
                    <a:pt x="520" y="776"/>
                    <a:pt x="520" y="600"/>
                  </a:cubicBezTo>
                  <a:cubicBezTo>
                    <a:pt x="520" y="583"/>
                    <a:pt x="521" y="566"/>
                    <a:pt x="522" y="549"/>
                  </a:cubicBezTo>
                  <a:cubicBezTo>
                    <a:pt x="403" y="515"/>
                    <a:pt x="320" y="405"/>
                    <a:pt x="320" y="280"/>
                  </a:cubicBezTo>
                  <a:cubicBezTo>
                    <a:pt x="320" y="125"/>
                    <a:pt x="445" y="0"/>
                    <a:pt x="600" y="0"/>
                  </a:cubicBezTo>
                  <a:cubicBezTo>
                    <a:pt x="677" y="0"/>
                    <a:pt x="747" y="31"/>
                    <a:pt x="798" y="82"/>
                  </a:cubicBezTo>
                  <a:cubicBezTo>
                    <a:pt x="810" y="95"/>
                    <a:pt x="822" y="108"/>
                    <a:pt x="832" y="123"/>
                  </a:cubicBezTo>
                  <a:cubicBezTo>
                    <a:pt x="896" y="96"/>
                    <a:pt x="966" y="80"/>
                    <a:pt x="1040" y="80"/>
                  </a:cubicBezTo>
                  <a:cubicBezTo>
                    <a:pt x="1114" y="80"/>
                    <a:pt x="1184" y="96"/>
                    <a:pt x="1248" y="123"/>
                  </a:cubicBezTo>
                  <a:cubicBezTo>
                    <a:pt x="1258" y="108"/>
                    <a:pt x="1270" y="95"/>
                    <a:pt x="1282" y="82"/>
                  </a:cubicBezTo>
                  <a:cubicBezTo>
                    <a:pt x="1333" y="31"/>
                    <a:pt x="1403" y="0"/>
                    <a:pt x="1480" y="0"/>
                  </a:cubicBezTo>
                  <a:cubicBezTo>
                    <a:pt x="1635" y="0"/>
                    <a:pt x="1760" y="125"/>
                    <a:pt x="1760" y="280"/>
                  </a:cubicBezTo>
                  <a:cubicBezTo>
                    <a:pt x="1760" y="405"/>
                    <a:pt x="1677" y="515"/>
                    <a:pt x="1558" y="549"/>
                  </a:cubicBezTo>
                  <a:cubicBezTo>
                    <a:pt x="1559" y="566"/>
                    <a:pt x="1560" y="583"/>
                    <a:pt x="1560" y="600"/>
                  </a:cubicBezTo>
                  <a:cubicBezTo>
                    <a:pt x="1560" y="776"/>
                    <a:pt x="1471" y="939"/>
                    <a:pt x="1324" y="1035"/>
                  </a:cubicBezTo>
                  <a:cubicBezTo>
                    <a:pt x="1360" y="991"/>
                    <a:pt x="1380" y="939"/>
                    <a:pt x="1380" y="882"/>
                  </a:cubicBezTo>
                  <a:cubicBezTo>
                    <a:pt x="1380" y="803"/>
                    <a:pt x="1341" y="732"/>
                    <a:pt x="1277" y="681"/>
                  </a:cubicBezTo>
                  <a:cubicBezTo>
                    <a:pt x="1248" y="658"/>
                    <a:pt x="1215" y="639"/>
                    <a:pt x="1178" y="626"/>
                  </a:cubicBezTo>
                  <a:cubicBezTo>
                    <a:pt x="1173" y="601"/>
                    <a:pt x="1156" y="580"/>
                    <a:pt x="1131" y="566"/>
                  </a:cubicBezTo>
                  <a:cubicBezTo>
                    <a:pt x="1107" y="551"/>
                    <a:pt x="1074" y="542"/>
                    <a:pt x="1040" y="542"/>
                  </a:cubicBezTo>
                  <a:cubicBezTo>
                    <a:pt x="1005" y="542"/>
                    <a:pt x="972" y="551"/>
                    <a:pt x="948" y="566"/>
                  </a:cubicBezTo>
                  <a:cubicBezTo>
                    <a:pt x="923" y="580"/>
                    <a:pt x="906" y="602"/>
                    <a:pt x="901" y="626"/>
                  </a:cubicBezTo>
                  <a:cubicBezTo>
                    <a:pt x="864" y="640"/>
                    <a:pt x="831" y="658"/>
                    <a:pt x="803" y="681"/>
                  </a:cubicBezTo>
                  <a:cubicBezTo>
                    <a:pt x="739" y="732"/>
                    <a:pt x="700" y="803"/>
                    <a:pt x="700" y="882"/>
                  </a:cubicBezTo>
                  <a:cubicBezTo>
                    <a:pt x="700" y="939"/>
                    <a:pt x="720" y="991"/>
                    <a:pt x="756" y="1035"/>
                  </a:cubicBezTo>
                  <a:close/>
                  <a:moveTo>
                    <a:pt x="431" y="1490"/>
                  </a:moveTo>
                  <a:cubicBezTo>
                    <a:pt x="501" y="1457"/>
                    <a:pt x="578" y="1456"/>
                    <a:pt x="645" y="1480"/>
                  </a:cubicBezTo>
                  <a:cubicBezTo>
                    <a:pt x="712" y="1505"/>
                    <a:pt x="770" y="1555"/>
                    <a:pt x="803" y="1625"/>
                  </a:cubicBezTo>
                  <a:cubicBezTo>
                    <a:pt x="904" y="1842"/>
                    <a:pt x="904" y="1842"/>
                    <a:pt x="904" y="1842"/>
                  </a:cubicBezTo>
                  <a:cubicBezTo>
                    <a:pt x="970" y="1982"/>
                    <a:pt x="908" y="2150"/>
                    <a:pt x="769" y="2214"/>
                  </a:cubicBezTo>
                  <a:cubicBezTo>
                    <a:pt x="630" y="2280"/>
                    <a:pt x="462" y="2219"/>
                    <a:pt x="397" y="2079"/>
                  </a:cubicBezTo>
                  <a:cubicBezTo>
                    <a:pt x="296" y="1862"/>
                    <a:pt x="296" y="1862"/>
                    <a:pt x="296" y="1862"/>
                  </a:cubicBezTo>
                  <a:cubicBezTo>
                    <a:pt x="230" y="1722"/>
                    <a:pt x="292" y="1554"/>
                    <a:pt x="431" y="1490"/>
                  </a:cubicBezTo>
                  <a:close/>
                  <a:moveTo>
                    <a:pt x="1649" y="1490"/>
                  </a:moveTo>
                  <a:cubicBezTo>
                    <a:pt x="1579" y="1457"/>
                    <a:pt x="1502" y="1456"/>
                    <a:pt x="1435" y="1480"/>
                  </a:cubicBezTo>
                  <a:cubicBezTo>
                    <a:pt x="1368" y="1505"/>
                    <a:pt x="1310" y="1555"/>
                    <a:pt x="1277" y="1625"/>
                  </a:cubicBezTo>
                  <a:cubicBezTo>
                    <a:pt x="1176" y="1842"/>
                    <a:pt x="1176" y="1842"/>
                    <a:pt x="1176" y="1842"/>
                  </a:cubicBezTo>
                  <a:cubicBezTo>
                    <a:pt x="1110" y="1982"/>
                    <a:pt x="1172" y="2150"/>
                    <a:pt x="1311" y="2214"/>
                  </a:cubicBezTo>
                  <a:cubicBezTo>
                    <a:pt x="1450" y="2280"/>
                    <a:pt x="1618" y="2219"/>
                    <a:pt x="1683" y="2079"/>
                  </a:cubicBezTo>
                  <a:cubicBezTo>
                    <a:pt x="1784" y="1862"/>
                    <a:pt x="1784" y="1862"/>
                    <a:pt x="1784" y="1862"/>
                  </a:cubicBezTo>
                  <a:cubicBezTo>
                    <a:pt x="1850" y="1722"/>
                    <a:pt x="1788" y="1554"/>
                    <a:pt x="1649" y="1490"/>
                  </a:cubicBezTo>
                  <a:close/>
                  <a:moveTo>
                    <a:pt x="1423" y="1399"/>
                  </a:moveTo>
                  <a:cubicBezTo>
                    <a:pt x="1389" y="1375"/>
                    <a:pt x="1353" y="1355"/>
                    <a:pt x="1315" y="1338"/>
                  </a:cubicBezTo>
                  <a:cubicBezTo>
                    <a:pt x="1338" y="1362"/>
                    <a:pt x="1358" y="1390"/>
                    <a:pt x="1374" y="1420"/>
                  </a:cubicBezTo>
                  <a:cubicBezTo>
                    <a:pt x="1302" y="1454"/>
                    <a:pt x="1241" y="1513"/>
                    <a:pt x="1204" y="1591"/>
                  </a:cubicBezTo>
                  <a:cubicBezTo>
                    <a:pt x="1103" y="1809"/>
                    <a:pt x="1103" y="1809"/>
                    <a:pt x="1103" y="1809"/>
                  </a:cubicBezTo>
                  <a:cubicBezTo>
                    <a:pt x="1051" y="1920"/>
                    <a:pt x="1060" y="2049"/>
                    <a:pt x="1125" y="2152"/>
                  </a:cubicBezTo>
                  <a:cubicBezTo>
                    <a:pt x="1069" y="2162"/>
                    <a:pt x="1011" y="2162"/>
                    <a:pt x="955" y="2152"/>
                  </a:cubicBezTo>
                  <a:cubicBezTo>
                    <a:pt x="1020" y="2049"/>
                    <a:pt x="1029" y="1920"/>
                    <a:pt x="977" y="1809"/>
                  </a:cubicBezTo>
                  <a:cubicBezTo>
                    <a:pt x="876" y="1591"/>
                    <a:pt x="876" y="1591"/>
                    <a:pt x="876" y="1591"/>
                  </a:cubicBezTo>
                  <a:cubicBezTo>
                    <a:pt x="839" y="1513"/>
                    <a:pt x="778" y="1454"/>
                    <a:pt x="706" y="1420"/>
                  </a:cubicBezTo>
                  <a:cubicBezTo>
                    <a:pt x="722" y="1390"/>
                    <a:pt x="742" y="1362"/>
                    <a:pt x="764" y="1338"/>
                  </a:cubicBezTo>
                  <a:cubicBezTo>
                    <a:pt x="726" y="1356"/>
                    <a:pt x="690" y="1376"/>
                    <a:pt x="656" y="1400"/>
                  </a:cubicBezTo>
                  <a:cubicBezTo>
                    <a:pt x="573" y="1374"/>
                    <a:pt x="481" y="1378"/>
                    <a:pt x="397" y="1417"/>
                  </a:cubicBezTo>
                  <a:cubicBezTo>
                    <a:pt x="294" y="1465"/>
                    <a:pt x="221" y="1559"/>
                    <a:pt x="197" y="1670"/>
                  </a:cubicBezTo>
                  <a:cubicBezTo>
                    <a:pt x="86" y="1653"/>
                    <a:pt x="0" y="1556"/>
                    <a:pt x="0" y="1440"/>
                  </a:cubicBezTo>
                  <a:cubicBezTo>
                    <a:pt x="0" y="1286"/>
                    <a:pt x="91" y="1160"/>
                    <a:pt x="219" y="1069"/>
                  </a:cubicBezTo>
                  <a:cubicBezTo>
                    <a:pt x="312" y="1002"/>
                    <a:pt x="425" y="954"/>
                    <a:pt x="537" y="927"/>
                  </a:cubicBezTo>
                  <a:cubicBezTo>
                    <a:pt x="648" y="1098"/>
                    <a:pt x="837" y="1200"/>
                    <a:pt x="1040" y="1200"/>
                  </a:cubicBezTo>
                  <a:cubicBezTo>
                    <a:pt x="1244" y="1200"/>
                    <a:pt x="1432" y="1097"/>
                    <a:pt x="1543" y="927"/>
                  </a:cubicBezTo>
                  <a:cubicBezTo>
                    <a:pt x="1655" y="954"/>
                    <a:pt x="1768" y="1002"/>
                    <a:pt x="1861" y="1069"/>
                  </a:cubicBezTo>
                  <a:cubicBezTo>
                    <a:pt x="1989" y="1160"/>
                    <a:pt x="2080" y="1286"/>
                    <a:pt x="2080" y="1440"/>
                  </a:cubicBezTo>
                  <a:cubicBezTo>
                    <a:pt x="2080" y="1556"/>
                    <a:pt x="1994" y="1653"/>
                    <a:pt x="1883" y="1670"/>
                  </a:cubicBezTo>
                  <a:cubicBezTo>
                    <a:pt x="1859" y="1559"/>
                    <a:pt x="1786" y="1465"/>
                    <a:pt x="1683" y="1417"/>
                  </a:cubicBezTo>
                  <a:cubicBezTo>
                    <a:pt x="1598" y="1378"/>
                    <a:pt x="1506" y="1374"/>
                    <a:pt x="1423" y="1399"/>
                  </a:cubicBezTo>
                  <a:close/>
                  <a:moveTo>
                    <a:pt x="1240" y="400"/>
                  </a:moveTo>
                  <a:cubicBezTo>
                    <a:pt x="1196" y="400"/>
                    <a:pt x="1160" y="436"/>
                    <a:pt x="1160" y="480"/>
                  </a:cubicBezTo>
                  <a:cubicBezTo>
                    <a:pt x="1160" y="524"/>
                    <a:pt x="1196" y="560"/>
                    <a:pt x="1240" y="560"/>
                  </a:cubicBezTo>
                  <a:cubicBezTo>
                    <a:pt x="1284" y="560"/>
                    <a:pt x="1320" y="524"/>
                    <a:pt x="1320" y="480"/>
                  </a:cubicBezTo>
                  <a:cubicBezTo>
                    <a:pt x="1320" y="436"/>
                    <a:pt x="1284" y="400"/>
                    <a:pt x="1240" y="400"/>
                  </a:cubicBezTo>
                  <a:close/>
                  <a:moveTo>
                    <a:pt x="840" y="400"/>
                  </a:moveTo>
                  <a:cubicBezTo>
                    <a:pt x="796" y="400"/>
                    <a:pt x="760" y="436"/>
                    <a:pt x="760" y="480"/>
                  </a:cubicBezTo>
                  <a:cubicBezTo>
                    <a:pt x="760" y="524"/>
                    <a:pt x="796" y="560"/>
                    <a:pt x="840" y="560"/>
                  </a:cubicBezTo>
                  <a:cubicBezTo>
                    <a:pt x="884" y="560"/>
                    <a:pt x="920" y="524"/>
                    <a:pt x="920" y="480"/>
                  </a:cubicBezTo>
                  <a:cubicBezTo>
                    <a:pt x="920" y="436"/>
                    <a:pt x="884" y="400"/>
                    <a:pt x="840" y="400"/>
                  </a:cubicBezTo>
                  <a:close/>
                  <a:moveTo>
                    <a:pt x="1227" y="743"/>
                  </a:moveTo>
                  <a:cubicBezTo>
                    <a:pt x="1206" y="726"/>
                    <a:pt x="1181" y="712"/>
                    <a:pt x="1153" y="702"/>
                  </a:cubicBezTo>
                  <a:cubicBezTo>
                    <a:pt x="1146" y="708"/>
                    <a:pt x="1139" y="713"/>
                    <a:pt x="1131" y="718"/>
                  </a:cubicBezTo>
                  <a:cubicBezTo>
                    <a:pt x="1116" y="727"/>
                    <a:pt x="1099" y="733"/>
                    <a:pt x="1080" y="737"/>
                  </a:cubicBezTo>
                  <a:cubicBezTo>
                    <a:pt x="1080" y="825"/>
                    <a:pt x="1080" y="825"/>
                    <a:pt x="1080" y="825"/>
                  </a:cubicBezTo>
                  <a:cubicBezTo>
                    <a:pt x="1148" y="894"/>
                    <a:pt x="1148" y="894"/>
                    <a:pt x="1148" y="894"/>
                  </a:cubicBezTo>
                  <a:cubicBezTo>
                    <a:pt x="1164" y="909"/>
                    <a:pt x="1164" y="934"/>
                    <a:pt x="1148" y="950"/>
                  </a:cubicBezTo>
                  <a:cubicBezTo>
                    <a:pt x="1133" y="966"/>
                    <a:pt x="1107" y="966"/>
                    <a:pt x="1092" y="950"/>
                  </a:cubicBezTo>
                  <a:cubicBezTo>
                    <a:pt x="1040" y="898"/>
                    <a:pt x="1040" y="898"/>
                    <a:pt x="1040" y="898"/>
                  </a:cubicBezTo>
                  <a:cubicBezTo>
                    <a:pt x="988" y="950"/>
                    <a:pt x="988" y="950"/>
                    <a:pt x="988" y="950"/>
                  </a:cubicBezTo>
                  <a:cubicBezTo>
                    <a:pt x="973" y="966"/>
                    <a:pt x="947" y="966"/>
                    <a:pt x="932" y="950"/>
                  </a:cubicBezTo>
                  <a:cubicBezTo>
                    <a:pt x="916" y="934"/>
                    <a:pt x="916" y="909"/>
                    <a:pt x="932" y="894"/>
                  </a:cubicBezTo>
                  <a:cubicBezTo>
                    <a:pt x="1000" y="825"/>
                    <a:pt x="1000" y="825"/>
                    <a:pt x="1000" y="825"/>
                  </a:cubicBezTo>
                  <a:cubicBezTo>
                    <a:pt x="1000" y="738"/>
                    <a:pt x="1000" y="738"/>
                    <a:pt x="1000" y="738"/>
                  </a:cubicBezTo>
                  <a:cubicBezTo>
                    <a:pt x="981" y="734"/>
                    <a:pt x="963" y="727"/>
                    <a:pt x="948" y="718"/>
                  </a:cubicBezTo>
                  <a:cubicBezTo>
                    <a:pt x="940" y="713"/>
                    <a:pt x="933" y="708"/>
                    <a:pt x="927" y="702"/>
                  </a:cubicBezTo>
                  <a:cubicBezTo>
                    <a:pt x="899" y="712"/>
                    <a:pt x="874" y="726"/>
                    <a:pt x="853" y="743"/>
                  </a:cubicBezTo>
                  <a:cubicBezTo>
                    <a:pt x="808" y="779"/>
                    <a:pt x="780" y="828"/>
                    <a:pt x="780" y="882"/>
                  </a:cubicBezTo>
                  <a:cubicBezTo>
                    <a:pt x="780" y="936"/>
                    <a:pt x="808" y="984"/>
                    <a:pt x="853" y="1020"/>
                  </a:cubicBezTo>
                  <a:cubicBezTo>
                    <a:pt x="900" y="1058"/>
                    <a:pt x="966" y="1082"/>
                    <a:pt x="1040" y="1082"/>
                  </a:cubicBezTo>
                  <a:cubicBezTo>
                    <a:pt x="1114" y="1082"/>
                    <a:pt x="1180" y="1058"/>
                    <a:pt x="1227" y="1020"/>
                  </a:cubicBezTo>
                  <a:cubicBezTo>
                    <a:pt x="1272" y="984"/>
                    <a:pt x="1300" y="936"/>
                    <a:pt x="1300" y="882"/>
                  </a:cubicBezTo>
                  <a:cubicBezTo>
                    <a:pt x="1300" y="828"/>
                    <a:pt x="1272" y="779"/>
                    <a:pt x="1227" y="7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50" dirty="0"/>
            </a:p>
          </p:txBody>
        </p:sp>
        <p:sp>
          <p:nvSpPr>
            <p:cNvPr id="116" name="Freeform 11"/>
            <p:cNvSpPr>
              <a:spLocks noEditPoints="1"/>
            </p:cNvSpPr>
            <p:nvPr/>
          </p:nvSpPr>
          <p:spPr bwMode="auto">
            <a:xfrm>
              <a:off x="6384328" y="2036977"/>
              <a:ext cx="457580" cy="269153"/>
            </a:xfrm>
            <a:custGeom>
              <a:avLst/>
              <a:gdLst>
                <a:gd name="T0" fmla="*/ 454 w 2108"/>
                <a:gd name="T1" fmla="*/ 557 h 1280"/>
                <a:gd name="T2" fmla="*/ 206 w 2108"/>
                <a:gd name="T3" fmla="*/ 519 h 1280"/>
                <a:gd name="T4" fmla="*/ 92 w 2108"/>
                <a:gd name="T5" fmla="*/ 568 h 1280"/>
                <a:gd name="T6" fmla="*/ 119 w 2108"/>
                <a:gd name="T7" fmla="*/ 740 h 1280"/>
                <a:gd name="T8" fmla="*/ 452 w 2108"/>
                <a:gd name="T9" fmla="*/ 1075 h 1280"/>
                <a:gd name="T10" fmla="*/ 1054 w 2108"/>
                <a:gd name="T11" fmla="*/ 1200 h 1280"/>
                <a:gd name="T12" fmla="*/ 1656 w 2108"/>
                <a:gd name="T13" fmla="*/ 1075 h 1280"/>
                <a:gd name="T14" fmla="*/ 1989 w 2108"/>
                <a:gd name="T15" fmla="*/ 740 h 1280"/>
                <a:gd name="T16" fmla="*/ 2016 w 2108"/>
                <a:gd name="T17" fmla="*/ 568 h 1280"/>
                <a:gd name="T18" fmla="*/ 1902 w 2108"/>
                <a:gd name="T19" fmla="*/ 519 h 1280"/>
                <a:gd name="T20" fmla="*/ 1654 w 2108"/>
                <a:gd name="T21" fmla="*/ 557 h 1280"/>
                <a:gd name="T22" fmla="*/ 1654 w 2108"/>
                <a:gd name="T23" fmla="*/ 476 h 1280"/>
                <a:gd name="T24" fmla="*/ 1886 w 2108"/>
                <a:gd name="T25" fmla="*/ 441 h 1280"/>
                <a:gd name="T26" fmla="*/ 2095 w 2108"/>
                <a:gd name="T27" fmla="*/ 552 h 1280"/>
                <a:gd name="T28" fmla="*/ 2064 w 2108"/>
                <a:gd name="T29" fmla="*/ 768 h 1280"/>
                <a:gd name="T30" fmla="*/ 1692 w 2108"/>
                <a:gd name="T31" fmla="*/ 1146 h 1280"/>
                <a:gd name="T32" fmla="*/ 1054 w 2108"/>
                <a:gd name="T33" fmla="*/ 1280 h 1280"/>
                <a:gd name="T34" fmla="*/ 416 w 2108"/>
                <a:gd name="T35" fmla="*/ 1146 h 1280"/>
                <a:gd name="T36" fmla="*/ 44 w 2108"/>
                <a:gd name="T37" fmla="*/ 768 h 1280"/>
                <a:gd name="T38" fmla="*/ 13 w 2108"/>
                <a:gd name="T39" fmla="*/ 552 h 1280"/>
                <a:gd name="T40" fmla="*/ 222 w 2108"/>
                <a:gd name="T41" fmla="*/ 441 h 1280"/>
                <a:gd name="T42" fmla="*/ 454 w 2108"/>
                <a:gd name="T43" fmla="*/ 477 h 1280"/>
                <a:gd name="T44" fmla="*/ 454 w 2108"/>
                <a:gd name="T45" fmla="*/ 557 h 1280"/>
                <a:gd name="T46" fmla="*/ 1574 w 2108"/>
                <a:gd name="T47" fmla="*/ 760 h 1280"/>
                <a:gd name="T48" fmla="*/ 534 w 2108"/>
                <a:gd name="T49" fmla="*/ 760 h 1280"/>
                <a:gd name="T50" fmla="*/ 494 w 2108"/>
                <a:gd name="T51" fmla="*/ 720 h 1280"/>
                <a:gd name="T52" fmla="*/ 494 w 2108"/>
                <a:gd name="T53" fmla="*/ 483 h 1280"/>
                <a:gd name="T54" fmla="*/ 576 w 2108"/>
                <a:gd name="T55" fmla="*/ 146 h 1280"/>
                <a:gd name="T56" fmla="*/ 774 w 2108"/>
                <a:gd name="T57" fmla="*/ 0 h 1280"/>
                <a:gd name="T58" fmla="*/ 930 w 2108"/>
                <a:gd name="T59" fmla="*/ 22 h 1280"/>
                <a:gd name="T60" fmla="*/ 930 w 2108"/>
                <a:gd name="T61" fmla="*/ 22 h 1280"/>
                <a:gd name="T62" fmla="*/ 1054 w 2108"/>
                <a:gd name="T63" fmla="*/ 40 h 1280"/>
                <a:gd name="T64" fmla="*/ 1178 w 2108"/>
                <a:gd name="T65" fmla="*/ 22 h 1280"/>
                <a:gd name="T66" fmla="*/ 1178 w 2108"/>
                <a:gd name="T67" fmla="*/ 22 h 1280"/>
                <a:gd name="T68" fmla="*/ 1334 w 2108"/>
                <a:gd name="T69" fmla="*/ 0 h 1280"/>
                <a:gd name="T70" fmla="*/ 1532 w 2108"/>
                <a:gd name="T71" fmla="*/ 146 h 1280"/>
                <a:gd name="T72" fmla="*/ 1614 w 2108"/>
                <a:gd name="T73" fmla="*/ 483 h 1280"/>
                <a:gd name="T74" fmla="*/ 1614 w 2108"/>
                <a:gd name="T75" fmla="*/ 720 h 1280"/>
                <a:gd name="T76" fmla="*/ 1574 w 2108"/>
                <a:gd name="T77" fmla="*/ 760 h 1280"/>
                <a:gd name="T78" fmla="*/ 574 w 2108"/>
                <a:gd name="T79" fmla="*/ 680 h 1280"/>
                <a:gd name="T80" fmla="*/ 1534 w 2108"/>
                <a:gd name="T81" fmla="*/ 680 h 1280"/>
                <a:gd name="T82" fmla="*/ 1534 w 2108"/>
                <a:gd name="T83" fmla="*/ 483 h 1280"/>
                <a:gd name="T84" fmla="*/ 1461 w 2108"/>
                <a:gd name="T85" fmla="*/ 184 h 1280"/>
                <a:gd name="T86" fmla="*/ 1334 w 2108"/>
                <a:gd name="T87" fmla="*/ 80 h 1280"/>
                <a:gd name="T88" fmla="*/ 1198 w 2108"/>
                <a:gd name="T89" fmla="*/ 99 h 1280"/>
                <a:gd name="T90" fmla="*/ 1198 w 2108"/>
                <a:gd name="T91" fmla="*/ 99 h 1280"/>
                <a:gd name="T92" fmla="*/ 1054 w 2108"/>
                <a:gd name="T93" fmla="*/ 120 h 1280"/>
                <a:gd name="T94" fmla="*/ 910 w 2108"/>
                <a:gd name="T95" fmla="*/ 99 h 1280"/>
                <a:gd name="T96" fmla="*/ 910 w 2108"/>
                <a:gd name="T97" fmla="*/ 99 h 1280"/>
                <a:gd name="T98" fmla="*/ 774 w 2108"/>
                <a:gd name="T99" fmla="*/ 80 h 1280"/>
                <a:gd name="T100" fmla="*/ 647 w 2108"/>
                <a:gd name="T101" fmla="*/ 184 h 1280"/>
                <a:gd name="T102" fmla="*/ 574 w 2108"/>
                <a:gd name="T103" fmla="*/ 483 h 1280"/>
                <a:gd name="T104" fmla="*/ 574 w 2108"/>
                <a:gd name="T105" fmla="*/ 680 h 1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8" h="1280">
                  <a:moveTo>
                    <a:pt x="454" y="557"/>
                  </a:moveTo>
                  <a:cubicBezTo>
                    <a:pt x="370" y="550"/>
                    <a:pt x="288" y="536"/>
                    <a:pt x="206" y="519"/>
                  </a:cubicBezTo>
                  <a:cubicBezTo>
                    <a:pt x="156" y="509"/>
                    <a:pt x="104" y="508"/>
                    <a:pt x="92" y="568"/>
                  </a:cubicBezTo>
                  <a:cubicBezTo>
                    <a:pt x="82" y="616"/>
                    <a:pt x="97" y="682"/>
                    <a:pt x="119" y="740"/>
                  </a:cubicBezTo>
                  <a:cubicBezTo>
                    <a:pt x="166" y="864"/>
                    <a:pt x="276" y="987"/>
                    <a:pt x="452" y="1075"/>
                  </a:cubicBezTo>
                  <a:cubicBezTo>
                    <a:pt x="604" y="1151"/>
                    <a:pt x="805" y="1200"/>
                    <a:pt x="1054" y="1200"/>
                  </a:cubicBezTo>
                  <a:cubicBezTo>
                    <a:pt x="1303" y="1200"/>
                    <a:pt x="1504" y="1151"/>
                    <a:pt x="1656" y="1075"/>
                  </a:cubicBezTo>
                  <a:cubicBezTo>
                    <a:pt x="1832" y="987"/>
                    <a:pt x="1942" y="864"/>
                    <a:pt x="1989" y="740"/>
                  </a:cubicBezTo>
                  <a:cubicBezTo>
                    <a:pt x="2011" y="682"/>
                    <a:pt x="2026" y="616"/>
                    <a:pt x="2016" y="568"/>
                  </a:cubicBezTo>
                  <a:cubicBezTo>
                    <a:pt x="2004" y="508"/>
                    <a:pt x="1952" y="509"/>
                    <a:pt x="1902" y="519"/>
                  </a:cubicBezTo>
                  <a:cubicBezTo>
                    <a:pt x="1820" y="536"/>
                    <a:pt x="1738" y="550"/>
                    <a:pt x="1654" y="557"/>
                  </a:cubicBezTo>
                  <a:cubicBezTo>
                    <a:pt x="1654" y="476"/>
                    <a:pt x="1654" y="476"/>
                    <a:pt x="1654" y="476"/>
                  </a:cubicBezTo>
                  <a:cubicBezTo>
                    <a:pt x="1732" y="470"/>
                    <a:pt x="1809" y="456"/>
                    <a:pt x="1886" y="441"/>
                  </a:cubicBezTo>
                  <a:cubicBezTo>
                    <a:pt x="1982" y="422"/>
                    <a:pt x="2073" y="444"/>
                    <a:pt x="2095" y="552"/>
                  </a:cubicBezTo>
                  <a:cubicBezTo>
                    <a:pt x="2108" y="616"/>
                    <a:pt x="2090" y="699"/>
                    <a:pt x="2064" y="768"/>
                  </a:cubicBezTo>
                  <a:cubicBezTo>
                    <a:pt x="2011" y="909"/>
                    <a:pt x="1886" y="1049"/>
                    <a:pt x="1692" y="1146"/>
                  </a:cubicBezTo>
                  <a:cubicBezTo>
                    <a:pt x="1529" y="1228"/>
                    <a:pt x="1316" y="1280"/>
                    <a:pt x="1054" y="1280"/>
                  </a:cubicBezTo>
                  <a:cubicBezTo>
                    <a:pt x="792" y="1280"/>
                    <a:pt x="579" y="1228"/>
                    <a:pt x="416" y="1146"/>
                  </a:cubicBezTo>
                  <a:cubicBezTo>
                    <a:pt x="222" y="1049"/>
                    <a:pt x="97" y="909"/>
                    <a:pt x="44" y="768"/>
                  </a:cubicBezTo>
                  <a:cubicBezTo>
                    <a:pt x="18" y="699"/>
                    <a:pt x="0" y="616"/>
                    <a:pt x="13" y="552"/>
                  </a:cubicBezTo>
                  <a:cubicBezTo>
                    <a:pt x="35" y="444"/>
                    <a:pt x="127" y="422"/>
                    <a:pt x="222" y="441"/>
                  </a:cubicBezTo>
                  <a:cubicBezTo>
                    <a:pt x="299" y="456"/>
                    <a:pt x="376" y="470"/>
                    <a:pt x="454" y="477"/>
                  </a:cubicBezTo>
                  <a:lnTo>
                    <a:pt x="454" y="557"/>
                  </a:lnTo>
                  <a:close/>
                  <a:moveTo>
                    <a:pt x="1574" y="760"/>
                  </a:moveTo>
                  <a:cubicBezTo>
                    <a:pt x="534" y="760"/>
                    <a:pt x="534" y="760"/>
                    <a:pt x="534" y="760"/>
                  </a:cubicBezTo>
                  <a:cubicBezTo>
                    <a:pt x="494" y="720"/>
                    <a:pt x="494" y="720"/>
                    <a:pt x="494" y="720"/>
                  </a:cubicBezTo>
                  <a:cubicBezTo>
                    <a:pt x="494" y="483"/>
                    <a:pt x="494" y="483"/>
                    <a:pt x="494" y="483"/>
                  </a:cubicBezTo>
                  <a:cubicBezTo>
                    <a:pt x="494" y="385"/>
                    <a:pt x="522" y="247"/>
                    <a:pt x="576" y="146"/>
                  </a:cubicBezTo>
                  <a:cubicBezTo>
                    <a:pt x="622" y="61"/>
                    <a:pt x="688" y="0"/>
                    <a:pt x="774" y="0"/>
                  </a:cubicBezTo>
                  <a:cubicBezTo>
                    <a:pt x="845" y="0"/>
                    <a:pt x="888" y="11"/>
                    <a:pt x="930" y="22"/>
                  </a:cubicBezTo>
                  <a:cubicBezTo>
                    <a:pt x="930" y="22"/>
                    <a:pt x="930" y="22"/>
                    <a:pt x="930" y="22"/>
                  </a:cubicBezTo>
                  <a:cubicBezTo>
                    <a:pt x="965" y="31"/>
                    <a:pt x="1000" y="40"/>
                    <a:pt x="1054" y="40"/>
                  </a:cubicBezTo>
                  <a:cubicBezTo>
                    <a:pt x="1108" y="40"/>
                    <a:pt x="1143" y="31"/>
                    <a:pt x="1178" y="22"/>
                  </a:cubicBezTo>
                  <a:cubicBezTo>
                    <a:pt x="1178" y="22"/>
                    <a:pt x="1178" y="22"/>
                    <a:pt x="1178" y="22"/>
                  </a:cubicBezTo>
                  <a:cubicBezTo>
                    <a:pt x="1220" y="11"/>
                    <a:pt x="1263" y="0"/>
                    <a:pt x="1334" y="0"/>
                  </a:cubicBezTo>
                  <a:cubicBezTo>
                    <a:pt x="1420" y="0"/>
                    <a:pt x="1486" y="61"/>
                    <a:pt x="1532" y="146"/>
                  </a:cubicBezTo>
                  <a:cubicBezTo>
                    <a:pt x="1586" y="247"/>
                    <a:pt x="1614" y="385"/>
                    <a:pt x="1614" y="483"/>
                  </a:cubicBezTo>
                  <a:cubicBezTo>
                    <a:pt x="1614" y="720"/>
                    <a:pt x="1614" y="720"/>
                    <a:pt x="1614" y="720"/>
                  </a:cubicBezTo>
                  <a:lnTo>
                    <a:pt x="1574" y="760"/>
                  </a:lnTo>
                  <a:close/>
                  <a:moveTo>
                    <a:pt x="574" y="680"/>
                  </a:moveTo>
                  <a:cubicBezTo>
                    <a:pt x="1534" y="680"/>
                    <a:pt x="1534" y="680"/>
                    <a:pt x="1534" y="680"/>
                  </a:cubicBezTo>
                  <a:cubicBezTo>
                    <a:pt x="1534" y="483"/>
                    <a:pt x="1534" y="483"/>
                    <a:pt x="1534" y="483"/>
                  </a:cubicBezTo>
                  <a:cubicBezTo>
                    <a:pt x="1534" y="396"/>
                    <a:pt x="1510" y="273"/>
                    <a:pt x="1461" y="184"/>
                  </a:cubicBezTo>
                  <a:cubicBezTo>
                    <a:pt x="1429" y="124"/>
                    <a:pt x="1386" y="80"/>
                    <a:pt x="1334" y="80"/>
                  </a:cubicBezTo>
                  <a:cubicBezTo>
                    <a:pt x="1272" y="80"/>
                    <a:pt x="1235" y="90"/>
                    <a:pt x="1198" y="99"/>
                  </a:cubicBezTo>
                  <a:cubicBezTo>
                    <a:pt x="1198" y="99"/>
                    <a:pt x="1198" y="99"/>
                    <a:pt x="1198" y="99"/>
                  </a:cubicBezTo>
                  <a:cubicBezTo>
                    <a:pt x="1157" y="110"/>
                    <a:pt x="1117" y="120"/>
                    <a:pt x="1054" y="120"/>
                  </a:cubicBezTo>
                  <a:cubicBezTo>
                    <a:pt x="991" y="120"/>
                    <a:pt x="951" y="110"/>
                    <a:pt x="910" y="99"/>
                  </a:cubicBezTo>
                  <a:cubicBezTo>
                    <a:pt x="910" y="99"/>
                    <a:pt x="910" y="99"/>
                    <a:pt x="910" y="99"/>
                  </a:cubicBezTo>
                  <a:cubicBezTo>
                    <a:pt x="873" y="90"/>
                    <a:pt x="836" y="80"/>
                    <a:pt x="774" y="80"/>
                  </a:cubicBezTo>
                  <a:cubicBezTo>
                    <a:pt x="722" y="80"/>
                    <a:pt x="679" y="124"/>
                    <a:pt x="647" y="184"/>
                  </a:cubicBezTo>
                  <a:cubicBezTo>
                    <a:pt x="598" y="273"/>
                    <a:pt x="574" y="396"/>
                    <a:pt x="574" y="483"/>
                  </a:cubicBezTo>
                  <a:lnTo>
                    <a:pt x="574" y="68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lIns="68580" tIns="34290" rIns="68580" bIns="3429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50" dirty="0">
                <a:latin typeface="+mn-lt"/>
              </a:endParaRPr>
            </a:p>
          </p:txBody>
        </p:sp>
        <p:sp>
          <p:nvSpPr>
            <p:cNvPr id="117" name="Freeform 12"/>
            <p:cNvSpPr>
              <a:spLocks/>
            </p:cNvSpPr>
            <p:nvPr/>
          </p:nvSpPr>
          <p:spPr bwMode="auto">
            <a:xfrm>
              <a:off x="6527209" y="2276643"/>
              <a:ext cx="243124" cy="92566"/>
            </a:xfrm>
            <a:custGeom>
              <a:avLst/>
              <a:gdLst>
                <a:gd name="T0" fmla="*/ 1120 w 1120"/>
                <a:gd name="T1" fmla="*/ 0 h 440"/>
                <a:gd name="T2" fmla="*/ 1120 w 1120"/>
                <a:gd name="T3" fmla="*/ 200 h 440"/>
                <a:gd name="T4" fmla="*/ 952 w 1120"/>
                <a:gd name="T5" fmla="*/ 380 h 440"/>
                <a:gd name="T6" fmla="*/ 560 w 1120"/>
                <a:gd name="T7" fmla="*/ 440 h 440"/>
                <a:gd name="T8" fmla="*/ 190 w 1120"/>
                <a:gd name="T9" fmla="*/ 388 h 440"/>
                <a:gd name="T10" fmla="*/ 0 w 1120"/>
                <a:gd name="T11" fmla="*/ 200 h 440"/>
                <a:gd name="T12" fmla="*/ 0 w 1120"/>
                <a:gd name="T13" fmla="*/ 0 h 440"/>
                <a:gd name="T14" fmla="*/ 560 w 1120"/>
                <a:gd name="T15" fmla="*/ 160 h 440"/>
                <a:gd name="T16" fmla="*/ 1120 w 1120"/>
                <a:gd name="T17" fmla="*/ 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20" h="440">
                  <a:moveTo>
                    <a:pt x="1120" y="0"/>
                  </a:moveTo>
                  <a:cubicBezTo>
                    <a:pt x="1120" y="200"/>
                    <a:pt x="1120" y="200"/>
                    <a:pt x="1120" y="200"/>
                  </a:cubicBezTo>
                  <a:cubicBezTo>
                    <a:pt x="1120" y="281"/>
                    <a:pt x="1054" y="341"/>
                    <a:pt x="952" y="380"/>
                  </a:cubicBezTo>
                  <a:cubicBezTo>
                    <a:pt x="834" y="425"/>
                    <a:pt x="685" y="440"/>
                    <a:pt x="560" y="440"/>
                  </a:cubicBezTo>
                  <a:cubicBezTo>
                    <a:pt x="426" y="440"/>
                    <a:pt x="291" y="422"/>
                    <a:pt x="190" y="388"/>
                  </a:cubicBezTo>
                  <a:cubicBezTo>
                    <a:pt x="76" y="349"/>
                    <a:pt x="0" y="287"/>
                    <a:pt x="0" y="2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4"/>
                    <a:pt x="461" y="160"/>
                    <a:pt x="560" y="160"/>
                  </a:cubicBezTo>
                  <a:cubicBezTo>
                    <a:pt x="659" y="160"/>
                    <a:pt x="1120" y="134"/>
                    <a:pt x="112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lIns="68580" tIns="34290" rIns="68580" bIns="3429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50" dirty="0">
                <a:latin typeface="+mn-lt"/>
              </a:endParaRPr>
            </a:p>
          </p:txBody>
        </p:sp>
        <p:sp>
          <p:nvSpPr>
            <p:cNvPr id="118" name="Freeform 11"/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7014037" y="1832168"/>
              <a:ext cx="280988" cy="317500"/>
            </a:xfrm>
            <a:custGeom>
              <a:avLst/>
              <a:gdLst>
                <a:gd name="T0" fmla="*/ 68 w 1693"/>
                <a:gd name="T1" fmla="*/ 1211 h 1973"/>
                <a:gd name="T2" fmla="*/ 8 w 1693"/>
                <a:gd name="T3" fmla="*/ 900 h 1973"/>
                <a:gd name="T4" fmla="*/ 108 w 1693"/>
                <a:gd name="T5" fmla="*/ 558 h 1973"/>
                <a:gd name="T6" fmla="*/ 340 w 1693"/>
                <a:gd name="T7" fmla="*/ 409 h 1973"/>
                <a:gd name="T8" fmla="*/ 680 w 1693"/>
                <a:gd name="T9" fmla="*/ 705 h 1973"/>
                <a:gd name="T10" fmla="*/ 694 w 1693"/>
                <a:gd name="T11" fmla="*/ 1022 h 1973"/>
                <a:gd name="T12" fmla="*/ 704 w 1693"/>
                <a:gd name="T13" fmla="*/ 1334 h 1973"/>
                <a:gd name="T14" fmla="*/ 711 w 1693"/>
                <a:gd name="T15" fmla="*/ 1369 h 1973"/>
                <a:gd name="T16" fmla="*/ 204 w 1693"/>
                <a:gd name="T17" fmla="*/ 1528 h 1973"/>
                <a:gd name="T18" fmla="*/ 188 w 1693"/>
                <a:gd name="T19" fmla="*/ 1496 h 1973"/>
                <a:gd name="T20" fmla="*/ 68 w 1693"/>
                <a:gd name="T21" fmla="*/ 1211 h 1973"/>
                <a:gd name="T22" fmla="*/ 709 w 1693"/>
                <a:gd name="T23" fmla="*/ 1480 h 1973"/>
                <a:gd name="T24" fmla="*/ 738 w 1693"/>
                <a:gd name="T25" fmla="*/ 1558 h 1973"/>
                <a:gd name="T26" fmla="*/ 610 w 1693"/>
                <a:gd name="T27" fmla="*/ 1929 h 1973"/>
                <a:gd name="T28" fmla="*/ 557 w 1693"/>
                <a:gd name="T29" fmla="*/ 1945 h 1973"/>
                <a:gd name="T30" fmla="*/ 247 w 1693"/>
                <a:gd name="T31" fmla="*/ 1712 h 1973"/>
                <a:gd name="T32" fmla="*/ 230 w 1693"/>
                <a:gd name="T33" fmla="*/ 1636 h 1973"/>
                <a:gd name="T34" fmla="*/ 709 w 1693"/>
                <a:gd name="T35" fmla="*/ 1480 h 1973"/>
                <a:gd name="T36" fmla="*/ 1685 w 1693"/>
                <a:gd name="T37" fmla="*/ 501 h 1973"/>
                <a:gd name="T38" fmla="*/ 1625 w 1693"/>
                <a:gd name="T39" fmla="*/ 813 h 1973"/>
                <a:gd name="T40" fmla="*/ 1504 w 1693"/>
                <a:gd name="T41" fmla="*/ 1098 h 1973"/>
                <a:gd name="T42" fmla="*/ 1489 w 1693"/>
                <a:gd name="T43" fmla="*/ 1129 h 1973"/>
                <a:gd name="T44" fmla="*/ 982 w 1693"/>
                <a:gd name="T45" fmla="*/ 970 h 1973"/>
                <a:gd name="T46" fmla="*/ 989 w 1693"/>
                <a:gd name="T47" fmla="*/ 935 h 1973"/>
                <a:gd name="T48" fmla="*/ 999 w 1693"/>
                <a:gd name="T49" fmla="*/ 624 h 1973"/>
                <a:gd name="T50" fmla="*/ 1013 w 1693"/>
                <a:gd name="T51" fmla="*/ 307 h 1973"/>
                <a:gd name="T52" fmla="*/ 1352 w 1693"/>
                <a:gd name="T53" fmla="*/ 10 h 1973"/>
                <a:gd name="T54" fmla="*/ 1584 w 1693"/>
                <a:gd name="T55" fmla="*/ 159 h 1973"/>
                <a:gd name="T56" fmla="*/ 1685 w 1693"/>
                <a:gd name="T57" fmla="*/ 501 h 1973"/>
                <a:gd name="T58" fmla="*/ 1463 w 1693"/>
                <a:gd name="T59" fmla="*/ 1238 h 1973"/>
                <a:gd name="T60" fmla="*/ 1456 w 1693"/>
                <a:gd name="T61" fmla="*/ 1272 h 1973"/>
                <a:gd name="T62" fmla="*/ 1446 w 1693"/>
                <a:gd name="T63" fmla="*/ 1314 h 1973"/>
                <a:gd name="T64" fmla="*/ 1136 w 1693"/>
                <a:gd name="T65" fmla="*/ 1546 h 1973"/>
                <a:gd name="T66" fmla="*/ 1105 w 1693"/>
                <a:gd name="T67" fmla="*/ 1539 h 1973"/>
                <a:gd name="T68" fmla="*/ 1082 w 1693"/>
                <a:gd name="T69" fmla="*/ 1531 h 1973"/>
                <a:gd name="T70" fmla="*/ 954 w 1693"/>
                <a:gd name="T71" fmla="*/ 1160 h 1973"/>
                <a:gd name="T72" fmla="*/ 970 w 1693"/>
                <a:gd name="T73" fmla="*/ 1117 h 1973"/>
                <a:gd name="T74" fmla="*/ 984 w 1693"/>
                <a:gd name="T75" fmla="*/ 1082 h 1973"/>
                <a:gd name="T76" fmla="*/ 1463 w 1693"/>
                <a:gd name="T77" fmla="*/ 1238 h 1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93" h="1973">
                  <a:moveTo>
                    <a:pt x="68" y="1211"/>
                  </a:moveTo>
                  <a:cubicBezTo>
                    <a:pt x="36" y="1116"/>
                    <a:pt x="16" y="1018"/>
                    <a:pt x="8" y="900"/>
                  </a:cubicBezTo>
                  <a:cubicBezTo>
                    <a:pt x="0" y="783"/>
                    <a:pt x="40" y="653"/>
                    <a:pt x="108" y="558"/>
                  </a:cubicBezTo>
                  <a:cubicBezTo>
                    <a:pt x="163" y="481"/>
                    <a:pt x="243" y="416"/>
                    <a:pt x="340" y="409"/>
                  </a:cubicBezTo>
                  <a:cubicBezTo>
                    <a:pt x="504" y="398"/>
                    <a:pt x="640" y="560"/>
                    <a:pt x="680" y="705"/>
                  </a:cubicBezTo>
                  <a:cubicBezTo>
                    <a:pt x="709" y="810"/>
                    <a:pt x="703" y="915"/>
                    <a:pt x="694" y="1022"/>
                  </a:cubicBezTo>
                  <a:cubicBezTo>
                    <a:pt x="682" y="1148"/>
                    <a:pt x="678" y="1199"/>
                    <a:pt x="704" y="1334"/>
                  </a:cubicBezTo>
                  <a:cubicBezTo>
                    <a:pt x="711" y="1369"/>
                    <a:pt x="711" y="1369"/>
                    <a:pt x="711" y="1369"/>
                  </a:cubicBezTo>
                  <a:cubicBezTo>
                    <a:pt x="542" y="1422"/>
                    <a:pt x="373" y="1474"/>
                    <a:pt x="204" y="1528"/>
                  </a:cubicBezTo>
                  <a:cubicBezTo>
                    <a:pt x="188" y="1496"/>
                    <a:pt x="188" y="1496"/>
                    <a:pt x="188" y="1496"/>
                  </a:cubicBezTo>
                  <a:cubicBezTo>
                    <a:pt x="139" y="1396"/>
                    <a:pt x="98" y="1306"/>
                    <a:pt x="68" y="1211"/>
                  </a:cubicBezTo>
                  <a:close/>
                  <a:moveTo>
                    <a:pt x="709" y="1480"/>
                  </a:moveTo>
                  <a:cubicBezTo>
                    <a:pt x="720" y="1506"/>
                    <a:pt x="730" y="1532"/>
                    <a:pt x="738" y="1558"/>
                  </a:cubicBezTo>
                  <a:cubicBezTo>
                    <a:pt x="782" y="1701"/>
                    <a:pt x="767" y="1867"/>
                    <a:pt x="610" y="1929"/>
                  </a:cubicBezTo>
                  <a:cubicBezTo>
                    <a:pt x="593" y="1936"/>
                    <a:pt x="575" y="1941"/>
                    <a:pt x="557" y="1945"/>
                  </a:cubicBezTo>
                  <a:cubicBezTo>
                    <a:pt x="402" y="1973"/>
                    <a:pt x="288" y="1849"/>
                    <a:pt x="247" y="1712"/>
                  </a:cubicBezTo>
                  <a:cubicBezTo>
                    <a:pt x="239" y="1687"/>
                    <a:pt x="235" y="1662"/>
                    <a:pt x="230" y="1636"/>
                  </a:cubicBezTo>
                  <a:lnTo>
                    <a:pt x="709" y="1480"/>
                  </a:lnTo>
                  <a:close/>
                  <a:moveTo>
                    <a:pt x="1685" y="501"/>
                  </a:moveTo>
                  <a:cubicBezTo>
                    <a:pt x="1677" y="619"/>
                    <a:pt x="1656" y="718"/>
                    <a:pt x="1625" y="813"/>
                  </a:cubicBezTo>
                  <a:cubicBezTo>
                    <a:pt x="1594" y="908"/>
                    <a:pt x="1553" y="997"/>
                    <a:pt x="1504" y="1098"/>
                  </a:cubicBezTo>
                  <a:cubicBezTo>
                    <a:pt x="1489" y="1129"/>
                    <a:pt x="1489" y="1129"/>
                    <a:pt x="1489" y="1129"/>
                  </a:cubicBezTo>
                  <a:cubicBezTo>
                    <a:pt x="982" y="970"/>
                    <a:pt x="982" y="970"/>
                    <a:pt x="982" y="970"/>
                  </a:cubicBezTo>
                  <a:cubicBezTo>
                    <a:pt x="989" y="935"/>
                    <a:pt x="989" y="935"/>
                    <a:pt x="989" y="935"/>
                  </a:cubicBezTo>
                  <a:cubicBezTo>
                    <a:pt x="1015" y="801"/>
                    <a:pt x="1011" y="750"/>
                    <a:pt x="999" y="624"/>
                  </a:cubicBezTo>
                  <a:cubicBezTo>
                    <a:pt x="990" y="517"/>
                    <a:pt x="984" y="412"/>
                    <a:pt x="1013" y="307"/>
                  </a:cubicBezTo>
                  <a:cubicBezTo>
                    <a:pt x="1053" y="162"/>
                    <a:pt x="1189" y="0"/>
                    <a:pt x="1352" y="10"/>
                  </a:cubicBezTo>
                  <a:cubicBezTo>
                    <a:pt x="1450" y="17"/>
                    <a:pt x="1530" y="83"/>
                    <a:pt x="1584" y="159"/>
                  </a:cubicBezTo>
                  <a:cubicBezTo>
                    <a:pt x="1652" y="255"/>
                    <a:pt x="1693" y="385"/>
                    <a:pt x="1685" y="501"/>
                  </a:cubicBezTo>
                  <a:close/>
                  <a:moveTo>
                    <a:pt x="1463" y="1238"/>
                  </a:moveTo>
                  <a:cubicBezTo>
                    <a:pt x="1456" y="1272"/>
                    <a:pt x="1456" y="1272"/>
                    <a:pt x="1456" y="1272"/>
                  </a:cubicBezTo>
                  <a:cubicBezTo>
                    <a:pt x="1454" y="1286"/>
                    <a:pt x="1450" y="1300"/>
                    <a:pt x="1446" y="1314"/>
                  </a:cubicBezTo>
                  <a:cubicBezTo>
                    <a:pt x="1404" y="1451"/>
                    <a:pt x="1291" y="1575"/>
                    <a:pt x="1136" y="1546"/>
                  </a:cubicBezTo>
                  <a:cubicBezTo>
                    <a:pt x="1126" y="1544"/>
                    <a:pt x="1115" y="1542"/>
                    <a:pt x="1105" y="1539"/>
                  </a:cubicBezTo>
                  <a:cubicBezTo>
                    <a:pt x="1097" y="1536"/>
                    <a:pt x="1090" y="1534"/>
                    <a:pt x="1082" y="1531"/>
                  </a:cubicBezTo>
                  <a:cubicBezTo>
                    <a:pt x="895" y="1456"/>
                    <a:pt x="904" y="1323"/>
                    <a:pt x="954" y="1160"/>
                  </a:cubicBezTo>
                  <a:cubicBezTo>
                    <a:pt x="959" y="1146"/>
                    <a:pt x="964" y="1131"/>
                    <a:pt x="970" y="1117"/>
                  </a:cubicBezTo>
                  <a:cubicBezTo>
                    <a:pt x="984" y="1082"/>
                    <a:pt x="984" y="1082"/>
                    <a:pt x="984" y="1082"/>
                  </a:cubicBezTo>
                  <a:lnTo>
                    <a:pt x="1463" y="123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50" dirty="0">
                <a:latin typeface="+mn-lt"/>
              </a:endParaRPr>
            </a:p>
          </p:txBody>
        </p:sp>
        <p:sp>
          <p:nvSpPr>
            <p:cNvPr id="119" name="Freeform 653"/>
            <p:cNvSpPr>
              <a:spLocks noChangeAspect="1" noEditPoints="1"/>
            </p:cNvSpPr>
            <p:nvPr/>
          </p:nvSpPr>
          <p:spPr bwMode="auto">
            <a:xfrm>
              <a:off x="4541096" y="2482877"/>
              <a:ext cx="234950" cy="196849"/>
            </a:xfrm>
            <a:custGeom>
              <a:avLst/>
              <a:gdLst>
                <a:gd name="T0" fmla="*/ 760 w 2080"/>
                <a:gd name="T1" fmla="*/ 1668 h 1800"/>
                <a:gd name="T2" fmla="*/ 454 w 2080"/>
                <a:gd name="T3" fmla="*/ 1722 h 1800"/>
                <a:gd name="T4" fmla="*/ 40 w 2080"/>
                <a:gd name="T5" fmla="*/ 1800 h 1800"/>
                <a:gd name="T6" fmla="*/ 0 w 2080"/>
                <a:gd name="T7" fmla="*/ 1800 h 1800"/>
                <a:gd name="T8" fmla="*/ 0 w 2080"/>
                <a:gd name="T9" fmla="*/ 264 h 1800"/>
                <a:gd name="T10" fmla="*/ 142 w 2080"/>
                <a:gd name="T11" fmla="*/ 122 h 1800"/>
                <a:gd name="T12" fmla="*/ 160 w 2080"/>
                <a:gd name="T13" fmla="*/ 120 h 1800"/>
                <a:gd name="T14" fmla="*/ 160 w 2080"/>
                <a:gd name="T15" fmla="*/ 1563 h 1800"/>
                <a:gd name="T16" fmla="*/ 237 w 2080"/>
                <a:gd name="T17" fmla="*/ 1558 h 1800"/>
                <a:gd name="T18" fmla="*/ 576 w 2080"/>
                <a:gd name="T19" fmla="*/ 1496 h 1800"/>
                <a:gd name="T20" fmla="*/ 793 w 2080"/>
                <a:gd name="T21" fmla="*/ 1446 h 1800"/>
                <a:gd name="T22" fmla="*/ 1014 w 2080"/>
                <a:gd name="T23" fmla="*/ 1535 h 1800"/>
                <a:gd name="T24" fmla="*/ 1039 w 2080"/>
                <a:gd name="T25" fmla="*/ 1556 h 1800"/>
                <a:gd name="T26" fmla="*/ 1065 w 2080"/>
                <a:gd name="T27" fmla="*/ 1535 h 1800"/>
                <a:gd name="T28" fmla="*/ 1286 w 2080"/>
                <a:gd name="T29" fmla="*/ 1446 h 1800"/>
                <a:gd name="T30" fmla="*/ 1503 w 2080"/>
                <a:gd name="T31" fmla="*/ 1496 h 1800"/>
                <a:gd name="T32" fmla="*/ 1849 w 2080"/>
                <a:gd name="T33" fmla="*/ 1558 h 1800"/>
                <a:gd name="T34" fmla="*/ 1920 w 2080"/>
                <a:gd name="T35" fmla="*/ 1562 h 1800"/>
                <a:gd name="T36" fmla="*/ 1920 w 2080"/>
                <a:gd name="T37" fmla="*/ 120 h 1800"/>
                <a:gd name="T38" fmla="*/ 1938 w 2080"/>
                <a:gd name="T39" fmla="*/ 122 h 1800"/>
                <a:gd name="T40" fmla="*/ 2080 w 2080"/>
                <a:gd name="T41" fmla="*/ 264 h 1800"/>
                <a:gd name="T42" fmla="*/ 2080 w 2080"/>
                <a:gd name="T43" fmla="*/ 1800 h 1800"/>
                <a:gd name="T44" fmla="*/ 2040 w 2080"/>
                <a:gd name="T45" fmla="*/ 1800 h 1800"/>
                <a:gd name="T46" fmla="*/ 1610 w 2080"/>
                <a:gd name="T47" fmla="*/ 1722 h 1800"/>
                <a:gd name="T48" fmla="*/ 1320 w 2080"/>
                <a:gd name="T49" fmla="*/ 1669 h 1800"/>
                <a:gd name="T50" fmla="*/ 1320 w 2080"/>
                <a:gd name="T51" fmla="*/ 1680 h 1800"/>
                <a:gd name="T52" fmla="*/ 1200 w 2080"/>
                <a:gd name="T53" fmla="*/ 1800 h 1800"/>
                <a:gd name="T54" fmla="*/ 880 w 2080"/>
                <a:gd name="T55" fmla="*/ 1800 h 1800"/>
                <a:gd name="T56" fmla="*/ 760 w 2080"/>
                <a:gd name="T57" fmla="*/ 1680 h 1800"/>
                <a:gd name="T58" fmla="*/ 760 w 2080"/>
                <a:gd name="T59" fmla="*/ 1668 h 1800"/>
                <a:gd name="T60" fmla="*/ 240 w 2080"/>
                <a:gd name="T61" fmla="*/ 114 h 1800"/>
                <a:gd name="T62" fmla="*/ 260 w 2080"/>
                <a:gd name="T63" fmla="*/ 112 h 1800"/>
                <a:gd name="T64" fmla="*/ 550 w 2080"/>
                <a:gd name="T65" fmla="*/ 54 h 1800"/>
                <a:gd name="T66" fmla="*/ 793 w 2080"/>
                <a:gd name="T67" fmla="*/ 0 h 1800"/>
                <a:gd name="T68" fmla="*/ 1000 w 2080"/>
                <a:gd name="T69" fmla="*/ 60 h 1800"/>
                <a:gd name="T70" fmla="*/ 1000 w 2080"/>
                <a:gd name="T71" fmla="*/ 1427 h 1800"/>
                <a:gd name="T72" fmla="*/ 793 w 2080"/>
                <a:gd name="T73" fmla="*/ 1366 h 1800"/>
                <a:gd name="T74" fmla="*/ 550 w 2080"/>
                <a:gd name="T75" fmla="*/ 1420 h 1800"/>
                <a:gd name="T76" fmla="*/ 240 w 2080"/>
                <a:gd name="T77" fmla="*/ 1478 h 1800"/>
                <a:gd name="T78" fmla="*/ 240 w 2080"/>
                <a:gd name="T79" fmla="*/ 114 h 1800"/>
                <a:gd name="T80" fmla="*/ 1080 w 2080"/>
                <a:gd name="T81" fmla="*/ 60 h 1800"/>
                <a:gd name="T82" fmla="*/ 1286 w 2080"/>
                <a:gd name="T83" fmla="*/ 0 h 1800"/>
                <a:gd name="T84" fmla="*/ 1529 w 2080"/>
                <a:gd name="T85" fmla="*/ 54 h 1800"/>
                <a:gd name="T86" fmla="*/ 1813 w 2080"/>
                <a:gd name="T87" fmla="*/ 111 h 1800"/>
                <a:gd name="T88" fmla="*/ 1840 w 2080"/>
                <a:gd name="T89" fmla="*/ 113 h 1800"/>
                <a:gd name="T90" fmla="*/ 1840 w 2080"/>
                <a:gd name="T91" fmla="*/ 1478 h 1800"/>
                <a:gd name="T92" fmla="*/ 1529 w 2080"/>
                <a:gd name="T93" fmla="*/ 1420 h 1800"/>
                <a:gd name="T94" fmla="*/ 1286 w 2080"/>
                <a:gd name="T95" fmla="*/ 1366 h 1800"/>
                <a:gd name="T96" fmla="*/ 1080 w 2080"/>
                <a:gd name="T97" fmla="*/ 1426 h 1800"/>
                <a:gd name="T98" fmla="*/ 1080 w 2080"/>
                <a:gd name="T99" fmla="*/ 60 h 1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80" h="1800">
                  <a:moveTo>
                    <a:pt x="760" y="1668"/>
                  </a:moveTo>
                  <a:cubicBezTo>
                    <a:pt x="695" y="1654"/>
                    <a:pt x="581" y="1686"/>
                    <a:pt x="454" y="1722"/>
                  </a:cubicBezTo>
                  <a:cubicBezTo>
                    <a:pt x="321" y="1759"/>
                    <a:pt x="175" y="1800"/>
                    <a:pt x="40" y="1800"/>
                  </a:cubicBezTo>
                  <a:cubicBezTo>
                    <a:pt x="0" y="1800"/>
                    <a:pt x="0" y="1800"/>
                    <a:pt x="0" y="1800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142" y="122"/>
                    <a:pt x="142" y="122"/>
                    <a:pt x="142" y="122"/>
                  </a:cubicBezTo>
                  <a:cubicBezTo>
                    <a:pt x="148" y="121"/>
                    <a:pt x="154" y="120"/>
                    <a:pt x="160" y="120"/>
                  </a:cubicBezTo>
                  <a:cubicBezTo>
                    <a:pt x="160" y="1563"/>
                    <a:pt x="160" y="1563"/>
                    <a:pt x="160" y="1563"/>
                  </a:cubicBezTo>
                  <a:cubicBezTo>
                    <a:pt x="186" y="1561"/>
                    <a:pt x="211" y="1560"/>
                    <a:pt x="237" y="1558"/>
                  </a:cubicBezTo>
                  <a:cubicBezTo>
                    <a:pt x="367" y="1550"/>
                    <a:pt x="452" y="1538"/>
                    <a:pt x="576" y="1496"/>
                  </a:cubicBezTo>
                  <a:cubicBezTo>
                    <a:pt x="647" y="1472"/>
                    <a:pt x="721" y="1446"/>
                    <a:pt x="793" y="1446"/>
                  </a:cubicBezTo>
                  <a:cubicBezTo>
                    <a:pt x="879" y="1446"/>
                    <a:pt x="949" y="1481"/>
                    <a:pt x="1014" y="1535"/>
                  </a:cubicBezTo>
                  <a:cubicBezTo>
                    <a:pt x="1039" y="1556"/>
                    <a:pt x="1039" y="1556"/>
                    <a:pt x="1039" y="1556"/>
                  </a:cubicBezTo>
                  <a:cubicBezTo>
                    <a:pt x="1065" y="1535"/>
                    <a:pt x="1065" y="1535"/>
                    <a:pt x="1065" y="1535"/>
                  </a:cubicBezTo>
                  <a:cubicBezTo>
                    <a:pt x="1130" y="1481"/>
                    <a:pt x="1200" y="1446"/>
                    <a:pt x="1286" y="1446"/>
                  </a:cubicBezTo>
                  <a:cubicBezTo>
                    <a:pt x="1358" y="1446"/>
                    <a:pt x="1432" y="1472"/>
                    <a:pt x="1503" y="1496"/>
                  </a:cubicBezTo>
                  <a:cubicBezTo>
                    <a:pt x="1628" y="1539"/>
                    <a:pt x="1717" y="1550"/>
                    <a:pt x="1849" y="1558"/>
                  </a:cubicBezTo>
                  <a:cubicBezTo>
                    <a:pt x="1920" y="1562"/>
                    <a:pt x="1920" y="1562"/>
                    <a:pt x="1920" y="1562"/>
                  </a:cubicBezTo>
                  <a:cubicBezTo>
                    <a:pt x="1920" y="120"/>
                    <a:pt x="1920" y="120"/>
                    <a:pt x="1920" y="120"/>
                  </a:cubicBezTo>
                  <a:cubicBezTo>
                    <a:pt x="1926" y="120"/>
                    <a:pt x="1932" y="121"/>
                    <a:pt x="1938" y="122"/>
                  </a:cubicBezTo>
                  <a:cubicBezTo>
                    <a:pt x="2080" y="264"/>
                    <a:pt x="2080" y="264"/>
                    <a:pt x="2080" y="264"/>
                  </a:cubicBezTo>
                  <a:cubicBezTo>
                    <a:pt x="2080" y="1800"/>
                    <a:pt x="2080" y="1800"/>
                    <a:pt x="2080" y="1800"/>
                  </a:cubicBezTo>
                  <a:cubicBezTo>
                    <a:pt x="2040" y="1800"/>
                    <a:pt x="2040" y="1800"/>
                    <a:pt x="2040" y="1800"/>
                  </a:cubicBezTo>
                  <a:cubicBezTo>
                    <a:pt x="1902" y="1800"/>
                    <a:pt x="1748" y="1759"/>
                    <a:pt x="1610" y="1722"/>
                  </a:cubicBezTo>
                  <a:cubicBezTo>
                    <a:pt x="1487" y="1689"/>
                    <a:pt x="1378" y="1660"/>
                    <a:pt x="1320" y="1669"/>
                  </a:cubicBezTo>
                  <a:cubicBezTo>
                    <a:pt x="1320" y="1680"/>
                    <a:pt x="1320" y="1680"/>
                    <a:pt x="1320" y="1680"/>
                  </a:cubicBezTo>
                  <a:cubicBezTo>
                    <a:pt x="1320" y="1746"/>
                    <a:pt x="1266" y="1800"/>
                    <a:pt x="1200" y="1800"/>
                  </a:cubicBezTo>
                  <a:cubicBezTo>
                    <a:pt x="880" y="1800"/>
                    <a:pt x="880" y="1800"/>
                    <a:pt x="880" y="1800"/>
                  </a:cubicBezTo>
                  <a:cubicBezTo>
                    <a:pt x="814" y="1800"/>
                    <a:pt x="760" y="1746"/>
                    <a:pt x="760" y="1680"/>
                  </a:cubicBezTo>
                  <a:lnTo>
                    <a:pt x="760" y="1668"/>
                  </a:lnTo>
                  <a:close/>
                  <a:moveTo>
                    <a:pt x="240" y="114"/>
                  </a:moveTo>
                  <a:cubicBezTo>
                    <a:pt x="246" y="113"/>
                    <a:pt x="253" y="113"/>
                    <a:pt x="260" y="112"/>
                  </a:cubicBezTo>
                  <a:cubicBezTo>
                    <a:pt x="373" y="105"/>
                    <a:pt x="443" y="91"/>
                    <a:pt x="550" y="54"/>
                  </a:cubicBezTo>
                  <a:cubicBezTo>
                    <a:pt x="628" y="28"/>
                    <a:pt x="708" y="0"/>
                    <a:pt x="793" y="0"/>
                  </a:cubicBezTo>
                  <a:cubicBezTo>
                    <a:pt x="869" y="0"/>
                    <a:pt x="937" y="22"/>
                    <a:pt x="1000" y="60"/>
                  </a:cubicBezTo>
                  <a:cubicBezTo>
                    <a:pt x="1000" y="1427"/>
                    <a:pt x="1000" y="1427"/>
                    <a:pt x="1000" y="1427"/>
                  </a:cubicBezTo>
                  <a:cubicBezTo>
                    <a:pt x="937" y="1388"/>
                    <a:pt x="868" y="1366"/>
                    <a:pt x="793" y="1366"/>
                  </a:cubicBezTo>
                  <a:cubicBezTo>
                    <a:pt x="708" y="1366"/>
                    <a:pt x="628" y="1394"/>
                    <a:pt x="550" y="1420"/>
                  </a:cubicBezTo>
                  <a:cubicBezTo>
                    <a:pt x="437" y="1459"/>
                    <a:pt x="359" y="1471"/>
                    <a:pt x="240" y="1478"/>
                  </a:cubicBezTo>
                  <a:lnTo>
                    <a:pt x="240" y="114"/>
                  </a:lnTo>
                  <a:close/>
                  <a:moveTo>
                    <a:pt x="1080" y="60"/>
                  </a:moveTo>
                  <a:cubicBezTo>
                    <a:pt x="1142" y="22"/>
                    <a:pt x="1210" y="0"/>
                    <a:pt x="1286" y="0"/>
                  </a:cubicBezTo>
                  <a:cubicBezTo>
                    <a:pt x="1371" y="0"/>
                    <a:pt x="1451" y="28"/>
                    <a:pt x="1529" y="54"/>
                  </a:cubicBezTo>
                  <a:cubicBezTo>
                    <a:pt x="1632" y="90"/>
                    <a:pt x="1702" y="104"/>
                    <a:pt x="1813" y="111"/>
                  </a:cubicBezTo>
                  <a:cubicBezTo>
                    <a:pt x="1822" y="112"/>
                    <a:pt x="1831" y="112"/>
                    <a:pt x="1840" y="113"/>
                  </a:cubicBezTo>
                  <a:cubicBezTo>
                    <a:pt x="1840" y="1478"/>
                    <a:pt x="1840" y="1478"/>
                    <a:pt x="1840" y="1478"/>
                  </a:cubicBezTo>
                  <a:cubicBezTo>
                    <a:pt x="1722" y="1470"/>
                    <a:pt x="1641" y="1459"/>
                    <a:pt x="1529" y="1420"/>
                  </a:cubicBezTo>
                  <a:cubicBezTo>
                    <a:pt x="1451" y="1394"/>
                    <a:pt x="1371" y="1366"/>
                    <a:pt x="1286" y="1366"/>
                  </a:cubicBezTo>
                  <a:cubicBezTo>
                    <a:pt x="1212" y="1366"/>
                    <a:pt x="1143" y="1388"/>
                    <a:pt x="1080" y="1426"/>
                  </a:cubicBezTo>
                  <a:lnTo>
                    <a:pt x="1080" y="6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25" dirty="0"/>
            </a:p>
          </p:txBody>
        </p:sp>
        <p:sp>
          <p:nvSpPr>
            <p:cNvPr id="120" name="Freeform 482"/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4967476" y="2444942"/>
              <a:ext cx="403225" cy="239712"/>
            </a:xfrm>
            <a:custGeom>
              <a:avLst/>
              <a:gdLst>
                <a:gd name="T0" fmla="*/ 1240 w 2280"/>
                <a:gd name="T1" fmla="*/ 60 h 1400"/>
                <a:gd name="T2" fmla="*/ 1500 w 2280"/>
                <a:gd name="T3" fmla="*/ 0 h 1400"/>
                <a:gd name="T4" fmla="*/ 1485 w 2280"/>
                <a:gd name="T5" fmla="*/ 260 h 1400"/>
                <a:gd name="T6" fmla="*/ 1862 w 2280"/>
                <a:gd name="T7" fmla="*/ 898 h 1400"/>
                <a:gd name="T8" fmla="*/ 1778 w 2280"/>
                <a:gd name="T9" fmla="*/ 982 h 1400"/>
                <a:gd name="T10" fmla="*/ 1565 w 2280"/>
                <a:gd name="T11" fmla="*/ 763 h 1400"/>
                <a:gd name="T12" fmla="*/ 1195 w 2280"/>
                <a:gd name="T13" fmla="*/ 1084 h 1400"/>
                <a:gd name="T14" fmla="*/ 450 w 2280"/>
                <a:gd name="T15" fmla="*/ 999 h 1400"/>
                <a:gd name="T16" fmla="*/ 774 w 2280"/>
                <a:gd name="T17" fmla="*/ 398 h 1400"/>
                <a:gd name="T18" fmla="*/ 630 w 2280"/>
                <a:gd name="T19" fmla="*/ 279 h 1400"/>
                <a:gd name="T20" fmla="*/ 560 w 2280"/>
                <a:gd name="T21" fmla="*/ 180 h 1400"/>
                <a:gd name="T22" fmla="*/ 860 w 2280"/>
                <a:gd name="T23" fmla="*/ 120 h 1400"/>
                <a:gd name="T24" fmla="*/ 866 w 2280"/>
                <a:gd name="T25" fmla="*/ 240 h 1400"/>
                <a:gd name="T26" fmla="*/ 870 w 2280"/>
                <a:gd name="T27" fmla="*/ 320 h 1400"/>
                <a:gd name="T28" fmla="*/ 1365 w 2280"/>
                <a:gd name="T29" fmla="*/ 283 h 1400"/>
                <a:gd name="T30" fmla="*/ 1412 w 2280"/>
                <a:gd name="T31" fmla="*/ 120 h 1400"/>
                <a:gd name="T32" fmla="*/ 1820 w 2280"/>
                <a:gd name="T33" fmla="*/ 480 h 1400"/>
                <a:gd name="T34" fmla="*/ 1820 w 2280"/>
                <a:gd name="T35" fmla="*/ 1400 h 1400"/>
                <a:gd name="T36" fmla="*/ 1362 w 2280"/>
                <a:gd name="T37" fmla="*/ 894 h 1400"/>
                <a:gd name="T38" fmla="*/ 1509 w 2280"/>
                <a:gd name="T39" fmla="*/ 786 h 1400"/>
                <a:gd name="T40" fmla="*/ 1480 w 2280"/>
                <a:gd name="T41" fmla="*/ 940 h 1400"/>
                <a:gd name="T42" fmla="*/ 2160 w 2280"/>
                <a:gd name="T43" fmla="*/ 940 h 1400"/>
                <a:gd name="T44" fmla="*/ 1700 w 2280"/>
                <a:gd name="T45" fmla="*/ 622 h 1400"/>
                <a:gd name="T46" fmla="*/ 1820 w 2280"/>
                <a:gd name="T47" fmla="*/ 480 h 1400"/>
                <a:gd name="T48" fmla="*/ 621 w 2280"/>
                <a:gd name="T49" fmla="*/ 509 h 1400"/>
                <a:gd name="T50" fmla="*/ 460 w 2280"/>
                <a:gd name="T51" fmla="*/ 600 h 1400"/>
                <a:gd name="T52" fmla="*/ 460 w 2280"/>
                <a:gd name="T53" fmla="*/ 1280 h 1400"/>
                <a:gd name="T54" fmla="*/ 742 w 2280"/>
                <a:gd name="T55" fmla="*/ 1130 h 1400"/>
                <a:gd name="T56" fmla="*/ 785 w 2280"/>
                <a:gd name="T57" fmla="*/ 1265 h 1400"/>
                <a:gd name="T58" fmla="*/ 0 w 2280"/>
                <a:gd name="T59" fmla="*/ 940 h 1400"/>
                <a:gd name="T60" fmla="*/ 816 w 2280"/>
                <a:gd name="T61" fmla="*/ 648 h 1400"/>
                <a:gd name="T62" fmla="*/ 797 w 2280"/>
                <a:gd name="T63" fmla="*/ 896 h 1400"/>
                <a:gd name="T64" fmla="*/ 816 w 2280"/>
                <a:gd name="T65" fmla="*/ 648 h 1400"/>
                <a:gd name="T66" fmla="*/ 924 w 2280"/>
                <a:gd name="T67" fmla="*/ 440 h 1400"/>
                <a:gd name="T68" fmla="*/ 1366 w 2280"/>
                <a:gd name="T69" fmla="*/ 440 h 1400"/>
                <a:gd name="T70" fmla="*/ 564 w 2280"/>
                <a:gd name="T71" fmla="*/ 898 h 1400"/>
                <a:gd name="T72" fmla="*/ 831 w 2280"/>
                <a:gd name="T73" fmla="*/ 524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280" h="1400">
                  <a:moveTo>
                    <a:pt x="1300" y="120"/>
                  </a:moveTo>
                  <a:cubicBezTo>
                    <a:pt x="1267" y="120"/>
                    <a:pt x="1240" y="93"/>
                    <a:pt x="1240" y="60"/>
                  </a:cubicBezTo>
                  <a:cubicBezTo>
                    <a:pt x="1240" y="27"/>
                    <a:pt x="1267" y="0"/>
                    <a:pt x="1300" y="0"/>
                  </a:cubicBezTo>
                  <a:cubicBezTo>
                    <a:pt x="1500" y="0"/>
                    <a:pt x="1500" y="0"/>
                    <a:pt x="1500" y="0"/>
                  </a:cubicBezTo>
                  <a:cubicBezTo>
                    <a:pt x="1545" y="0"/>
                    <a:pt x="1573" y="47"/>
                    <a:pt x="1554" y="86"/>
                  </a:cubicBezTo>
                  <a:cubicBezTo>
                    <a:pt x="1485" y="260"/>
                    <a:pt x="1485" y="260"/>
                    <a:pt x="1485" y="260"/>
                  </a:cubicBezTo>
                  <a:cubicBezTo>
                    <a:pt x="1671" y="706"/>
                    <a:pt x="1671" y="706"/>
                    <a:pt x="1671" y="706"/>
                  </a:cubicBezTo>
                  <a:cubicBezTo>
                    <a:pt x="1862" y="898"/>
                    <a:pt x="1862" y="898"/>
                    <a:pt x="1862" y="898"/>
                  </a:cubicBezTo>
                  <a:cubicBezTo>
                    <a:pt x="1886" y="921"/>
                    <a:pt x="1886" y="959"/>
                    <a:pt x="1862" y="982"/>
                  </a:cubicBezTo>
                  <a:cubicBezTo>
                    <a:pt x="1839" y="1006"/>
                    <a:pt x="1801" y="1006"/>
                    <a:pt x="1778" y="982"/>
                  </a:cubicBezTo>
                  <a:cubicBezTo>
                    <a:pt x="1578" y="782"/>
                    <a:pt x="1578" y="782"/>
                    <a:pt x="1578" y="782"/>
                  </a:cubicBezTo>
                  <a:cubicBezTo>
                    <a:pt x="1572" y="777"/>
                    <a:pt x="1568" y="770"/>
                    <a:pt x="1565" y="763"/>
                  </a:cubicBezTo>
                  <a:cubicBezTo>
                    <a:pt x="1462" y="516"/>
                    <a:pt x="1462" y="516"/>
                    <a:pt x="1462" y="516"/>
                  </a:cubicBezTo>
                  <a:cubicBezTo>
                    <a:pt x="1195" y="1084"/>
                    <a:pt x="1195" y="1084"/>
                    <a:pt x="1195" y="1084"/>
                  </a:cubicBezTo>
                  <a:cubicBezTo>
                    <a:pt x="1184" y="1109"/>
                    <a:pt x="1157" y="1124"/>
                    <a:pt x="1130" y="1119"/>
                  </a:cubicBezTo>
                  <a:cubicBezTo>
                    <a:pt x="450" y="999"/>
                    <a:pt x="450" y="999"/>
                    <a:pt x="450" y="999"/>
                  </a:cubicBezTo>
                  <a:cubicBezTo>
                    <a:pt x="404" y="991"/>
                    <a:pt x="385" y="937"/>
                    <a:pt x="414" y="902"/>
                  </a:cubicBezTo>
                  <a:cubicBezTo>
                    <a:pt x="774" y="398"/>
                    <a:pt x="774" y="398"/>
                    <a:pt x="774" y="398"/>
                  </a:cubicBezTo>
                  <a:cubicBezTo>
                    <a:pt x="713" y="265"/>
                    <a:pt x="713" y="265"/>
                    <a:pt x="713" y="265"/>
                  </a:cubicBezTo>
                  <a:cubicBezTo>
                    <a:pt x="630" y="279"/>
                    <a:pt x="630" y="279"/>
                    <a:pt x="630" y="279"/>
                  </a:cubicBezTo>
                  <a:cubicBezTo>
                    <a:pt x="597" y="284"/>
                    <a:pt x="566" y="262"/>
                    <a:pt x="561" y="230"/>
                  </a:cubicBezTo>
                  <a:cubicBezTo>
                    <a:pt x="558" y="216"/>
                    <a:pt x="560" y="195"/>
                    <a:pt x="560" y="180"/>
                  </a:cubicBezTo>
                  <a:cubicBezTo>
                    <a:pt x="560" y="147"/>
                    <a:pt x="587" y="120"/>
                    <a:pt x="620" y="120"/>
                  </a:cubicBezTo>
                  <a:cubicBezTo>
                    <a:pt x="860" y="120"/>
                    <a:pt x="860" y="120"/>
                    <a:pt x="860" y="120"/>
                  </a:cubicBezTo>
                  <a:cubicBezTo>
                    <a:pt x="893" y="120"/>
                    <a:pt x="920" y="147"/>
                    <a:pt x="920" y="180"/>
                  </a:cubicBezTo>
                  <a:cubicBezTo>
                    <a:pt x="920" y="211"/>
                    <a:pt x="896" y="237"/>
                    <a:pt x="866" y="240"/>
                  </a:cubicBezTo>
                  <a:cubicBezTo>
                    <a:pt x="835" y="245"/>
                    <a:pt x="835" y="245"/>
                    <a:pt x="835" y="245"/>
                  </a:cubicBezTo>
                  <a:cubicBezTo>
                    <a:pt x="870" y="320"/>
                    <a:pt x="870" y="320"/>
                    <a:pt x="870" y="320"/>
                  </a:cubicBezTo>
                  <a:cubicBezTo>
                    <a:pt x="1380" y="320"/>
                    <a:pt x="1380" y="320"/>
                    <a:pt x="1380" y="320"/>
                  </a:cubicBezTo>
                  <a:cubicBezTo>
                    <a:pt x="1365" y="283"/>
                    <a:pt x="1365" y="283"/>
                    <a:pt x="1365" y="283"/>
                  </a:cubicBezTo>
                  <a:cubicBezTo>
                    <a:pt x="1359" y="269"/>
                    <a:pt x="1358" y="253"/>
                    <a:pt x="1364" y="238"/>
                  </a:cubicBezTo>
                  <a:cubicBezTo>
                    <a:pt x="1412" y="120"/>
                    <a:pt x="1412" y="120"/>
                    <a:pt x="1412" y="120"/>
                  </a:cubicBezTo>
                  <a:lnTo>
                    <a:pt x="1300" y="120"/>
                  </a:lnTo>
                  <a:close/>
                  <a:moveTo>
                    <a:pt x="1820" y="480"/>
                  </a:moveTo>
                  <a:cubicBezTo>
                    <a:pt x="2074" y="480"/>
                    <a:pt x="2280" y="686"/>
                    <a:pt x="2280" y="940"/>
                  </a:cubicBezTo>
                  <a:cubicBezTo>
                    <a:pt x="2280" y="1194"/>
                    <a:pt x="2074" y="1400"/>
                    <a:pt x="1820" y="1400"/>
                  </a:cubicBezTo>
                  <a:cubicBezTo>
                    <a:pt x="1566" y="1400"/>
                    <a:pt x="1360" y="1194"/>
                    <a:pt x="1360" y="940"/>
                  </a:cubicBezTo>
                  <a:cubicBezTo>
                    <a:pt x="1360" y="924"/>
                    <a:pt x="1361" y="909"/>
                    <a:pt x="1362" y="894"/>
                  </a:cubicBezTo>
                  <a:cubicBezTo>
                    <a:pt x="1462" y="671"/>
                    <a:pt x="1462" y="671"/>
                    <a:pt x="1462" y="671"/>
                  </a:cubicBezTo>
                  <a:cubicBezTo>
                    <a:pt x="1509" y="786"/>
                    <a:pt x="1509" y="786"/>
                    <a:pt x="1509" y="786"/>
                  </a:cubicBezTo>
                  <a:cubicBezTo>
                    <a:pt x="1510" y="789"/>
                    <a:pt x="1512" y="791"/>
                    <a:pt x="1513" y="794"/>
                  </a:cubicBezTo>
                  <a:cubicBezTo>
                    <a:pt x="1492" y="838"/>
                    <a:pt x="1480" y="888"/>
                    <a:pt x="1480" y="940"/>
                  </a:cubicBezTo>
                  <a:cubicBezTo>
                    <a:pt x="1480" y="1128"/>
                    <a:pt x="1632" y="1280"/>
                    <a:pt x="1820" y="1280"/>
                  </a:cubicBezTo>
                  <a:cubicBezTo>
                    <a:pt x="2008" y="1280"/>
                    <a:pt x="2160" y="1128"/>
                    <a:pt x="2160" y="940"/>
                  </a:cubicBezTo>
                  <a:cubicBezTo>
                    <a:pt x="2160" y="752"/>
                    <a:pt x="2008" y="600"/>
                    <a:pt x="1820" y="600"/>
                  </a:cubicBezTo>
                  <a:cubicBezTo>
                    <a:pt x="1778" y="600"/>
                    <a:pt x="1738" y="608"/>
                    <a:pt x="1700" y="622"/>
                  </a:cubicBezTo>
                  <a:cubicBezTo>
                    <a:pt x="1654" y="511"/>
                    <a:pt x="1654" y="511"/>
                    <a:pt x="1654" y="511"/>
                  </a:cubicBezTo>
                  <a:cubicBezTo>
                    <a:pt x="1706" y="491"/>
                    <a:pt x="1762" y="480"/>
                    <a:pt x="1820" y="480"/>
                  </a:cubicBezTo>
                  <a:close/>
                  <a:moveTo>
                    <a:pt x="460" y="480"/>
                  </a:moveTo>
                  <a:cubicBezTo>
                    <a:pt x="516" y="480"/>
                    <a:pt x="571" y="490"/>
                    <a:pt x="621" y="509"/>
                  </a:cubicBezTo>
                  <a:cubicBezTo>
                    <a:pt x="548" y="612"/>
                    <a:pt x="548" y="612"/>
                    <a:pt x="548" y="612"/>
                  </a:cubicBezTo>
                  <a:cubicBezTo>
                    <a:pt x="520" y="604"/>
                    <a:pt x="490" y="600"/>
                    <a:pt x="460" y="600"/>
                  </a:cubicBezTo>
                  <a:cubicBezTo>
                    <a:pt x="272" y="600"/>
                    <a:pt x="120" y="752"/>
                    <a:pt x="120" y="940"/>
                  </a:cubicBezTo>
                  <a:cubicBezTo>
                    <a:pt x="120" y="1128"/>
                    <a:pt x="272" y="1280"/>
                    <a:pt x="460" y="1280"/>
                  </a:cubicBezTo>
                  <a:cubicBezTo>
                    <a:pt x="554" y="1280"/>
                    <a:pt x="639" y="1242"/>
                    <a:pt x="700" y="1180"/>
                  </a:cubicBezTo>
                  <a:cubicBezTo>
                    <a:pt x="716" y="1165"/>
                    <a:pt x="730" y="1148"/>
                    <a:pt x="742" y="1130"/>
                  </a:cubicBezTo>
                  <a:cubicBezTo>
                    <a:pt x="865" y="1158"/>
                    <a:pt x="865" y="1158"/>
                    <a:pt x="865" y="1158"/>
                  </a:cubicBezTo>
                  <a:cubicBezTo>
                    <a:pt x="844" y="1198"/>
                    <a:pt x="817" y="1234"/>
                    <a:pt x="785" y="1265"/>
                  </a:cubicBezTo>
                  <a:cubicBezTo>
                    <a:pt x="702" y="1348"/>
                    <a:pt x="587" y="1400"/>
                    <a:pt x="460" y="1400"/>
                  </a:cubicBezTo>
                  <a:cubicBezTo>
                    <a:pt x="206" y="1400"/>
                    <a:pt x="0" y="1194"/>
                    <a:pt x="0" y="940"/>
                  </a:cubicBezTo>
                  <a:cubicBezTo>
                    <a:pt x="0" y="686"/>
                    <a:pt x="206" y="480"/>
                    <a:pt x="460" y="480"/>
                  </a:cubicBezTo>
                  <a:close/>
                  <a:moveTo>
                    <a:pt x="816" y="648"/>
                  </a:moveTo>
                  <a:cubicBezTo>
                    <a:pt x="878" y="724"/>
                    <a:pt x="916" y="820"/>
                    <a:pt x="920" y="925"/>
                  </a:cubicBezTo>
                  <a:cubicBezTo>
                    <a:pt x="797" y="896"/>
                    <a:pt x="797" y="896"/>
                    <a:pt x="797" y="896"/>
                  </a:cubicBezTo>
                  <a:cubicBezTo>
                    <a:pt x="790" y="843"/>
                    <a:pt x="771" y="793"/>
                    <a:pt x="742" y="750"/>
                  </a:cubicBezTo>
                  <a:lnTo>
                    <a:pt x="816" y="648"/>
                  </a:lnTo>
                  <a:close/>
                  <a:moveTo>
                    <a:pt x="1366" y="440"/>
                  </a:moveTo>
                  <a:cubicBezTo>
                    <a:pt x="924" y="440"/>
                    <a:pt x="924" y="440"/>
                    <a:pt x="924" y="440"/>
                  </a:cubicBezTo>
                  <a:cubicBezTo>
                    <a:pt x="1141" y="917"/>
                    <a:pt x="1141" y="917"/>
                    <a:pt x="1141" y="917"/>
                  </a:cubicBezTo>
                  <a:lnTo>
                    <a:pt x="1366" y="440"/>
                  </a:lnTo>
                  <a:close/>
                  <a:moveTo>
                    <a:pt x="831" y="524"/>
                  </a:moveTo>
                  <a:cubicBezTo>
                    <a:pt x="564" y="898"/>
                    <a:pt x="564" y="898"/>
                    <a:pt x="564" y="898"/>
                  </a:cubicBezTo>
                  <a:cubicBezTo>
                    <a:pt x="1038" y="981"/>
                    <a:pt x="1038" y="981"/>
                    <a:pt x="1038" y="981"/>
                  </a:cubicBezTo>
                  <a:lnTo>
                    <a:pt x="831" y="52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latin typeface="+mn-lt"/>
              </a:endParaRPr>
            </a:p>
          </p:txBody>
        </p:sp>
      </p:grp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10428" y="2990003"/>
            <a:ext cx="3324975" cy="427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altLang="uk-UA" sz="1100" b="1" dirty="0">
                <a:solidFill>
                  <a:srgbClr val="000000"/>
                </a:solidFill>
              </a:rPr>
              <a:t>Совершают покупки на иностранных </a:t>
            </a:r>
            <a:r>
              <a:rPr lang="ru-RU" altLang="uk-UA" sz="1100" b="1" dirty="0" smtClean="0">
                <a:solidFill>
                  <a:srgbClr val="000000"/>
                </a:solidFill>
              </a:rPr>
              <a:t>сайтах</a:t>
            </a:r>
            <a:endParaRPr lang="ru-RU" altLang="uk-UA" sz="1100" b="1" dirty="0">
              <a:solidFill>
                <a:srgbClr val="000000"/>
              </a:solidFill>
            </a:endParaRPr>
          </a:p>
          <a:p>
            <a:pPr eaLnBrk="1" hangingPunct="1"/>
            <a:r>
              <a:rPr lang="ru-RU" altLang="uk-UA" sz="1100" b="1" dirty="0">
                <a:solidFill>
                  <a:srgbClr val="000000"/>
                </a:solidFill>
              </a:rPr>
              <a:t>% ко всем покупателям в </a:t>
            </a:r>
            <a:r>
              <a:rPr lang="ru-RU" altLang="uk-UA" sz="1100" b="1" dirty="0" smtClean="0">
                <a:solidFill>
                  <a:srgbClr val="000000"/>
                </a:solidFill>
              </a:rPr>
              <a:t>интернете</a:t>
            </a:r>
            <a:endParaRPr lang="uk-UA" altLang="uk-UA" sz="1100" dirty="0">
              <a:solidFill>
                <a:srgbClr val="000000"/>
              </a:solidFill>
            </a:endParaRPr>
          </a:p>
        </p:txBody>
      </p:sp>
      <p:cxnSp>
        <p:nvCxnSpPr>
          <p:cNvPr id="50" name="Straight Connector 49"/>
          <p:cNvCxnSpPr/>
          <p:nvPr/>
        </p:nvCxnSpPr>
        <p:spPr>
          <a:xfrm>
            <a:off x="3388073" y="857896"/>
            <a:ext cx="6278" cy="3803055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 flipV="1">
            <a:off x="276371" y="2981753"/>
            <a:ext cx="294640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itle 3"/>
          <p:cNvSpPr>
            <a:spLocks noGrp="1"/>
          </p:cNvSpPr>
          <p:nvPr>
            <p:ph type="title"/>
          </p:nvPr>
        </p:nvSpPr>
        <p:spPr>
          <a:xfrm>
            <a:off x="319587" y="151292"/>
            <a:ext cx="6408738" cy="576262"/>
          </a:xfrm>
        </p:spPr>
        <p:txBody>
          <a:bodyPr/>
          <a:lstStyle/>
          <a:p>
            <a:r>
              <a:rPr lang="en-US" dirty="0" smtClean="0"/>
              <a:t>C</a:t>
            </a:r>
            <a:r>
              <a:rPr lang="ru-RU" dirty="0" smtClean="0"/>
              <a:t>овершение </a:t>
            </a:r>
            <a:r>
              <a:rPr lang="ru-RU" dirty="0"/>
              <a:t>покупок через интернет</a:t>
            </a:r>
          </a:p>
        </p:txBody>
      </p:sp>
      <p:cxnSp>
        <p:nvCxnSpPr>
          <p:cNvPr id="31" name="Straight Arrow Connector 30"/>
          <p:cNvCxnSpPr/>
          <p:nvPr/>
        </p:nvCxnSpPr>
        <p:spPr>
          <a:xfrm flipV="1">
            <a:off x="2894607" y="3497119"/>
            <a:ext cx="14167" cy="288704"/>
          </a:xfrm>
          <a:prstGeom prst="straightConnector1">
            <a:avLst/>
          </a:prstGeom>
          <a:ln w="19050">
            <a:solidFill>
              <a:srgbClr val="00B050"/>
            </a:solidFill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98994" y="1143460"/>
            <a:ext cx="6419644" cy="385300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92734" y="3234083"/>
            <a:ext cx="2914141" cy="147536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3325" y="738436"/>
            <a:ext cx="3176291" cy="1835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407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082" y="796917"/>
            <a:ext cx="880813" cy="184134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29" y="744083"/>
            <a:ext cx="912812" cy="1890932"/>
          </a:xfrm>
          <a:prstGeom prst="rect">
            <a:avLst/>
          </a:prstGeom>
        </p:spPr>
      </p:pic>
      <p:cxnSp>
        <p:nvCxnSpPr>
          <p:cNvPr id="24" name="Straight Connector 23"/>
          <p:cNvCxnSpPr/>
          <p:nvPr/>
        </p:nvCxnSpPr>
        <p:spPr>
          <a:xfrm flipV="1">
            <a:off x="179512" y="2716127"/>
            <a:ext cx="8784976" cy="49228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>
            <a:spLocks noChangeArrowheads="1"/>
          </p:cNvSpPr>
          <p:nvPr/>
        </p:nvSpPr>
        <p:spPr bwMode="auto">
          <a:xfrm>
            <a:off x="2322004" y="2747937"/>
            <a:ext cx="45720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ru-RU" altLang="uk-UA" sz="1200" b="1" dirty="0" smtClean="0">
                <a:solidFill>
                  <a:srgbClr val="000000"/>
                </a:solidFill>
              </a:rPr>
              <a:t>Возраст</a:t>
            </a:r>
            <a:endParaRPr lang="uk-UA" altLang="uk-UA" sz="1200" b="1" dirty="0">
              <a:solidFill>
                <a:srgbClr val="000000"/>
              </a:solidFill>
            </a:endParaRPr>
          </a:p>
        </p:txBody>
      </p:sp>
      <p:pic>
        <p:nvPicPr>
          <p:cNvPr id="14" name="Рисунок 4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3300" y="1608636"/>
            <a:ext cx="226270" cy="213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Рисунок 5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3300" y="1844363"/>
            <a:ext cx="212302" cy="200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Рисунок 5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9585" y="2058009"/>
            <a:ext cx="199732" cy="190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Рисунок 4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3300" y="2280529"/>
            <a:ext cx="229268" cy="229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5" name="Gruppieren 212"/>
          <p:cNvGrpSpPr/>
          <p:nvPr/>
        </p:nvGrpSpPr>
        <p:grpSpPr bwMode="gray">
          <a:xfrm>
            <a:off x="98058" y="709702"/>
            <a:ext cx="1171354" cy="2007981"/>
            <a:chOff x="3964326" y="4120406"/>
            <a:chExt cx="452330" cy="1033866"/>
          </a:xfrm>
        </p:grpSpPr>
        <p:sp>
          <p:nvSpPr>
            <p:cNvPr id="39" name="Oval 22"/>
            <p:cNvSpPr>
              <a:spLocks noChangeArrowheads="1"/>
            </p:cNvSpPr>
            <p:nvPr/>
          </p:nvSpPr>
          <p:spPr bwMode="gray">
            <a:xfrm>
              <a:off x="3964328" y="4120406"/>
              <a:ext cx="452328" cy="1033866"/>
            </a:xfrm>
            <a:custGeom>
              <a:avLst/>
              <a:gdLst/>
              <a:ahLst/>
              <a:cxnLst/>
              <a:rect l="l" t="t" r="r" b="b"/>
              <a:pathLst>
                <a:path w="432000" h="720000">
                  <a:moveTo>
                    <a:pt x="165666" y="156546"/>
                  </a:moveTo>
                  <a:cubicBezTo>
                    <a:pt x="131637" y="156546"/>
                    <a:pt x="117459" y="174985"/>
                    <a:pt x="104698" y="213280"/>
                  </a:cubicBezTo>
                  <a:cubicBezTo>
                    <a:pt x="55467" y="366653"/>
                    <a:pt x="55076" y="367872"/>
                    <a:pt x="55073" y="367882"/>
                  </a:cubicBezTo>
                  <a:cubicBezTo>
                    <a:pt x="45147" y="397666"/>
                    <a:pt x="87683" y="411851"/>
                    <a:pt x="97608" y="382065"/>
                  </a:cubicBezTo>
                  <a:cubicBezTo>
                    <a:pt x="144398" y="238811"/>
                    <a:pt x="144398" y="238811"/>
                    <a:pt x="150069" y="238811"/>
                  </a:cubicBezTo>
                  <a:cubicBezTo>
                    <a:pt x="150069" y="649402"/>
                    <a:pt x="150069" y="651541"/>
                    <a:pt x="150069" y="651553"/>
                  </a:cubicBezTo>
                  <a:cubicBezTo>
                    <a:pt x="150069" y="695522"/>
                    <a:pt x="211037" y="694104"/>
                    <a:pt x="211037" y="651553"/>
                  </a:cubicBezTo>
                  <a:cubicBezTo>
                    <a:pt x="211037" y="413248"/>
                    <a:pt x="211037" y="411859"/>
                    <a:pt x="211037" y="411851"/>
                  </a:cubicBezTo>
                  <a:lnTo>
                    <a:pt x="218481" y="411851"/>
                  </a:lnTo>
                  <a:cubicBezTo>
                    <a:pt x="219485" y="411851"/>
                    <a:pt x="219542" y="411851"/>
                    <a:pt x="219545" y="411851"/>
                  </a:cubicBezTo>
                  <a:cubicBezTo>
                    <a:pt x="219545" y="650151"/>
                    <a:pt x="219545" y="651544"/>
                    <a:pt x="219545" y="651553"/>
                  </a:cubicBezTo>
                  <a:cubicBezTo>
                    <a:pt x="220963" y="694104"/>
                    <a:pt x="281931" y="695522"/>
                    <a:pt x="281931" y="651553"/>
                  </a:cubicBezTo>
                  <a:cubicBezTo>
                    <a:pt x="281931" y="472187"/>
                    <a:pt x="281931" y="471144"/>
                    <a:pt x="281931" y="471138"/>
                  </a:cubicBezTo>
                  <a:cubicBezTo>
                    <a:pt x="281931" y="238811"/>
                    <a:pt x="281931" y="238811"/>
                    <a:pt x="287602" y="238811"/>
                  </a:cubicBezTo>
                  <a:cubicBezTo>
                    <a:pt x="334020" y="380928"/>
                    <a:pt x="334389" y="382056"/>
                    <a:pt x="334392" y="382065"/>
                  </a:cubicBezTo>
                  <a:cubicBezTo>
                    <a:pt x="344317" y="411851"/>
                    <a:pt x="386853" y="397666"/>
                    <a:pt x="376927" y="367882"/>
                  </a:cubicBezTo>
                  <a:cubicBezTo>
                    <a:pt x="327698" y="214513"/>
                    <a:pt x="327305" y="213290"/>
                    <a:pt x="327302" y="213280"/>
                  </a:cubicBezTo>
                  <a:cubicBezTo>
                    <a:pt x="314542" y="174985"/>
                    <a:pt x="300363" y="156546"/>
                    <a:pt x="266334" y="156546"/>
                  </a:cubicBezTo>
                  <a:cubicBezTo>
                    <a:pt x="236065" y="156546"/>
                    <a:pt x="235712" y="156546"/>
                    <a:pt x="235708" y="156546"/>
                  </a:cubicBezTo>
                  <a:lnTo>
                    <a:pt x="218587" y="156546"/>
                  </a:lnTo>
                  <a:cubicBezTo>
                    <a:pt x="216246" y="156546"/>
                    <a:pt x="216147" y="156546"/>
                    <a:pt x="216142" y="156546"/>
                  </a:cubicBezTo>
                  <a:cubicBezTo>
                    <a:pt x="166194" y="156546"/>
                    <a:pt x="165672" y="156546"/>
                    <a:pt x="165666" y="156546"/>
                  </a:cubicBezTo>
                  <a:close/>
                  <a:moveTo>
                    <a:pt x="215941" y="36000"/>
                  </a:moveTo>
                  <a:cubicBezTo>
                    <a:pt x="186732" y="36000"/>
                    <a:pt x="163052" y="59680"/>
                    <a:pt x="163052" y="88890"/>
                  </a:cubicBezTo>
                  <a:cubicBezTo>
                    <a:pt x="163052" y="118100"/>
                    <a:pt x="186732" y="141780"/>
                    <a:pt x="215941" y="141780"/>
                  </a:cubicBezTo>
                  <a:cubicBezTo>
                    <a:pt x="245151" y="141780"/>
                    <a:pt x="268831" y="118100"/>
                    <a:pt x="268831" y="88890"/>
                  </a:cubicBezTo>
                  <a:cubicBezTo>
                    <a:pt x="268831" y="59680"/>
                    <a:pt x="245151" y="36000"/>
                    <a:pt x="215941" y="36000"/>
                  </a:cubicBezTo>
                  <a:close/>
                  <a:moveTo>
                    <a:pt x="0" y="0"/>
                  </a:moveTo>
                  <a:lnTo>
                    <a:pt x="432000" y="0"/>
                  </a:lnTo>
                  <a:lnTo>
                    <a:pt x="432000" y="720000"/>
                  </a:lnTo>
                  <a:lnTo>
                    <a:pt x="0" y="72000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hteck 214"/>
            <p:cNvSpPr/>
            <p:nvPr/>
          </p:nvSpPr>
          <p:spPr bwMode="gray">
            <a:xfrm>
              <a:off x="3964326" y="4149096"/>
              <a:ext cx="452329" cy="1005175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200"/>
          <p:cNvGrpSpPr>
            <a:grpSpLocks noChangeAspect="1"/>
          </p:cNvGrpSpPr>
          <p:nvPr/>
        </p:nvGrpSpPr>
        <p:grpSpPr bwMode="gray">
          <a:xfrm>
            <a:off x="1833826" y="744083"/>
            <a:ext cx="1188638" cy="1998475"/>
            <a:chOff x="3330087" y="4064737"/>
            <a:chExt cx="580774" cy="1301951"/>
          </a:xfrm>
        </p:grpSpPr>
        <p:sp>
          <p:nvSpPr>
            <p:cNvPr id="46" name="Oval 8"/>
            <p:cNvSpPr>
              <a:spLocks noChangeArrowheads="1"/>
            </p:cNvSpPr>
            <p:nvPr/>
          </p:nvSpPr>
          <p:spPr bwMode="gray">
            <a:xfrm>
              <a:off x="3330087" y="4064737"/>
              <a:ext cx="574836" cy="1289356"/>
            </a:xfrm>
            <a:custGeom>
              <a:avLst/>
              <a:gdLst/>
              <a:ahLst/>
              <a:cxnLst/>
              <a:rect l="l" t="t" r="r" b="b"/>
              <a:pathLst>
                <a:path w="432048" h="721186">
                  <a:moveTo>
                    <a:pt x="179643" y="156497"/>
                  </a:moveTo>
                  <a:cubicBezTo>
                    <a:pt x="141879" y="157369"/>
                    <a:pt x="120091" y="187872"/>
                    <a:pt x="114864" y="205302"/>
                  </a:cubicBezTo>
                  <a:cubicBezTo>
                    <a:pt x="114864" y="205302"/>
                    <a:pt x="114864" y="205302"/>
                    <a:pt x="69256" y="356072"/>
                  </a:cubicBezTo>
                  <a:cubicBezTo>
                    <a:pt x="59379" y="389190"/>
                    <a:pt x="101210" y="401682"/>
                    <a:pt x="111377" y="370888"/>
                  </a:cubicBezTo>
                  <a:cubicBezTo>
                    <a:pt x="111377" y="370888"/>
                    <a:pt x="111377" y="370888"/>
                    <a:pt x="152046" y="231156"/>
                  </a:cubicBezTo>
                  <a:lnTo>
                    <a:pt x="163375" y="231156"/>
                  </a:lnTo>
                  <a:cubicBezTo>
                    <a:pt x="163375" y="231156"/>
                    <a:pt x="163375" y="231156"/>
                    <a:pt x="93657" y="476341"/>
                  </a:cubicBezTo>
                  <a:cubicBezTo>
                    <a:pt x="93657" y="476341"/>
                    <a:pt x="93657" y="476341"/>
                    <a:pt x="158437" y="476341"/>
                  </a:cubicBezTo>
                  <a:cubicBezTo>
                    <a:pt x="158437" y="476341"/>
                    <a:pt x="158437" y="476341"/>
                    <a:pt x="158437" y="659648"/>
                  </a:cubicBezTo>
                  <a:cubicBezTo>
                    <a:pt x="159018" y="693055"/>
                    <a:pt x="208692" y="693055"/>
                    <a:pt x="208983" y="659648"/>
                  </a:cubicBezTo>
                  <a:cubicBezTo>
                    <a:pt x="208983" y="659648"/>
                    <a:pt x="208983" y="659648"/>
                    <a:pt x="208983" y="476341"/>
                  </a:cubicBezTo>
                  <a:lnTo>
                    <a:pt x="223507" y="476341"/>
                  </a:lnTo>
                  <a:cubicBezTo>
                    <a:pt x="223507" y="476341"/>
                    <a:pt x="223507" y="476341"/>
                    <a:pt x="223507" y="659648"/>
                  </a:cubicBezTo>
                  <a:cubicBezTo>
                    <a:pt x="223216" y="692764"/>
                    <a:pt x="272601" y="693055"/>
                    <a:pt x="272020" y="659648"/>
                  </a:cubicBezTo>
                  <a:cubicBezTo>
                    <a:pt x="272020" y="659648"/>
                    <a:pt x="272020" y="659648"/>
                    <a:pt x="272020" y="476341"/>
                  </a:cubicBezTo>
                  <a:cubicBezTo>
                    <a:pt x="272020" y="476341"/>
                    <a:pt x="272020" y="476341"/>
                    <a:pt x="338542" y="476341"/>
                  </a:cubicBezTo>
                  <a:cubicBezTo>
                    <a:pt x="338542" y="476341"/>
                    <a:pt x="338542" y="476341"/>
                    <a:pt x="267372" y="231156"/>
                  </a:cubicBezTo>
                  <a:lnTo>
                    <a:pt x="280153" y="231156"/>
                  </a:lnTo>
                  <a:cubicBezTo>
                    <a:pt x="280153" y="231156"/>
                    <a:pt x="280153" y="231156"/>
                    <a:pt x="320822" y="370888"/>
                  </a:cubicBezTo>
                  <a:cubicBezTo>
                    <a:pt x="330699" y="402553"/>
                    <a:pt x="372239" y="388899"/>
                    <a:pt x="362943" y="356072"/>
                  </a:cubicBezTo>
                  <a:cubicBezTo>
                    <a:pt x="362943" y="356072"/>
                    <a:pt x="362943" y="356072"/>
                    <a:pt x="317627" y="205302"/>
                  </a:cubicBezTo>
                  <a:cubicBezTo>
                    <a:pt x="311235" y="188163"/>
                    <a:pt x="289449" y="157369"/>
                    <a:pt x="252556" y="156497"/>
                  </a:cubicBezTo>
                  <a:cubicBezTo>
                    <a:pt x="252556" y="156497"/>
                    <a:pt x="252556" y="156497"/>
                    <a:pt x="179643" y="156497"/>
                  </a:cubicBezTo>
                  <a:close/>
                  <a:moveTo>
                    <a:pt x="216117" y="36593"/>
                  </a:moveTo>
                  <a:cubicBezTo>
                    <a:pt x="187013" y="36593"/>
                    <a:pt x="163420" y="60187"/>
                    <a:pt x="163420" y="89290"/>
                  </a:cubicBezTo>
                  <a:cubicBezTo>
                    <a:pt x="163420" y="118394"/>
                    <a:pt x="187013" y="141988"/>
                    <a:pt x="216117" y="141988"/>
                  </a:cubicBezTo>
                  <a:cubicBezTo>
                    <a:pt x="245221" y="141988"/>
                    <a:pt x="268815" y="118394"/>
                    <a:pt x="268815" y="89290"/>
                  </a:cubicBezTo>
                  <a:cubicBezTo>
                    <a:pt x="268815" y="60187"/>
                    <a:pt x="245221" y="36593"/>
                    <a:pt x="216117" y="36593"/>
                  </a:cubicBezTo>
                  <a:close/>
                  <a:moveTo>
                    <a:pt x="0" y="0"/>
                  </a:moveTo>
                  <a:lnTo>
                    <a:pt x="432048" y="0"/>
                  </a:lnTo>
                  <a:lnTo>
                    <a:pt x="432048" y="721186"/>
                  </a:lnTo>
                  <a:lnTo>
                    <a:pt x="0" y="721186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hteck 202"/>
            <p:cNvSpPr/>
            <p:nvPr/>
          </p:nvSpPr>
          <p:spPr bwMode="gray">
            <a:xfrm>
              <a:off x="3334861" y="4076303"/>
              <a:ext cx="576000" cy="1290385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1079577" y="950523"/>
            <a:ext cx="1036119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altLang="uk-UA" sz="900" dirty="0"/>
              <a:t>Не делал(а) покупки через социальные сети</a:t>
            </a:r>
            <a:endParaRPr lang="uk-UA" altLang="uk-UA" sz="900" dirty="0"/>
          </a:p>
        </p:txBody>
      </p:sp>
      <p:sp>
        <p:nvSpPr>
          <p:cNvPr id="71" name="Ellipse 426"/>
          <p:cNvSpPr/>
          <p:nvPr/>
        </p:nvSpPr>
        <p:spPr bwMode="gray">
          <a:xfrm>
            <a:off x="6799409" y="1522422"/>
            <a:ext cx="1200712" cy="1140597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Одежда </a:t>
            </a:r>
          </a:p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и обувь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72" name="Ellipse 426"/>
          <p:cNvSpPr/>
          <p:nvPr/>
        </p:nvSpPr>
        <p:spPr bwMode="gray">
          <a:xfrm>
            <a:off x="3911429" y="1587112"/>
            <a:ext cx="1130385" cy="1075908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100" b="1" dirty="0" smtClean="0"/>
              <a:t>Одежда </a:t>
            </a:r>
          </a:p>
          <a:p>
            <a:pPr algn="ctr"/>
            <a:r>
              <a:rPr lang="ru-RU" sz="1100" b="1" dirty="0" smtClean="0"/>
              <a:t>и обувь</a:t>
            </a:r>
            <a:endParaRPr lang="en-US" sz="1100" b="1" dirty="0"/>
          </a:p>
        </p:txBody>
      </p:sp>
      <p:sp>
        <p:nvSpPr>
          <p:cNvPr id="73" name="Ellipse 426"/>
          <p:cNvSpPr/>
          <p:nvPr/>
        </p:nvSpPr>
        <p:spPr bwMode="gray">
          <a:xfrm>
            <a:off x="6826638" y="1125381"/>
            <a:ext cx="394126" cy="394126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900" b="1" dirty="0" smtClean="0"/>
              <a:t>БТиЭ</a:t>
            </a:r>
            <a:endParaRPr lang="en-US" sz="900" b="1" dirty="0"/>
          </a:p>
        </p:txBody>
      </p:sp>
      <p:sp>
        <p:nvSpPr>
          <p:cNvPr id="74" name="Ellipse 426"/>
          <p:cNvSpPr/>
          <p:nvPr/>
        </p:nvSpPr>
        <p:spPr bwMode="gray">
          <a:xfrm>
            <a:off x="4838715" y="1801114"/>
            <a:ext cx="775195" cy="775195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100" b="1" dirty="0" smtClean="0"/>
              <a:t>БТиЭ</a:t>
            </a:r>
            <a:endParaRPr lang="en-US" sz="1100" b="1" dirty="0"/>
          </a:p>
        </p:txBody>
      </p:sp>
      <p:sp>
        <p:nvSpPr>
          <p:cNvPr id="75" name="Ellipse 426"/>
          <p:cNvSpPr/>
          <p:nvPr/>
        </p:nvSpPr>
        <p:spPr bwMode="gray">
          <a:xfrm>
            <a:off x="6201125" y="1608723"/>
            <a:ext cx="586370" cy="558111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100" b="1" dirty="0" smtClean="0"/>
              <a:t>Книги</a:t>
            </a:r>
            <a:endParaRPr lang="en-US" sz="1100" b="1" dirty="0"/>
          </a:p>
        </p:txBody>
      </p:sp>
      <p:sp>
        <p:nvSpPr>
          <p:cNvPr id="76" name="Ellipse 426"/>
          <p:cNvSpPr/>
          <p:nvPr/>
        </p:nvSpPr>
        <p:spPr bwMode="gray">
          <a:xfrm>
            <a:off x="7407890" y="1017241"/>
            <a:ext cx="788127" cy="751454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000" b="1" dirty="0" smtClean="0"/>
              <a:t>Аксессуары</a:t>
            </a:r>
            <a:endParaRPr lang="en-US" sz="1000" b="1" dirty="0"/>
          </a:p>
        </p:txBody>
      </p:sp>
      <p:sp>
        <p:nvSpPr>
          <p:cNvPr id="77" name="Ellipse 426"/>
          <p:cNvSpPr/>
          <p:nvPr/>
        </p:nvSpPr>
        <p:spPr bwMode="gray">
          <a:xfrm>
            <a:off x="3384296" y="1194571"/>
            <a:ext cx="665169" cy="633113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100" b="1" dirty="0" smtClean="0"/>
              <a:t>Книги</a:t>
            </a:r>
            <a:endParaRPr lang="en-US" sz="1100" b="1" dirty="0"/>
          </a:p>
        </p:txBody>
      </p:sp>
      <p:sp>
        <p:nvSpPr>
          <p:cNvPr id="78" name="Ellipse 426"/>
          <p:cNvSpPr/>
          <p:nvPr/>
        </p:nvSpPr>
        <p:spPr bwMode="gray">
          <a:xfrm>
            <a:off x="4905063" y="1194088"/>
            <a:ext cx="683792" cy="650838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800" b="1" dirty="0" smtClean="0"/>
              <a:t>Аксессуары</a:t>
            </a:r>
            <a:endParaRPr lang="en-US" sz="800" b="1" dirty="0"/>
          </a:p>
        </p:txBody>
      </p:sp>
      <p:sp>
        <p:nvSpPr>
          <p:cNvPr id="80" name="Ellipse 426"/>
          <p:cNvSpPr/>
          <p:nvPr/>
        </p:nvSpPr>
        <p:spPr bwMode="gray">
          <a:xfrm>
            <a:off x="7873786" y="1830593"/>
            <a:ext cx="846809" cy="805999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000" b="1" dirty="0" smtClean="0"/>
              <a:t>Косметика</a:t>
            </a:r>
            <a:endParaRPr lang="en-US" sz="1000" b="1" dirty="0"/>
          </a:p>
        </p:txBody>
      </p:sp>
      <p:sp>
        <p:nvSpPr>
          <p:cNvPr id="81" name="Ellipse 426"/>
          <p:cNvSpPr/>
          <p:nvPr/>
        </p:nvSpPr>
        <p:spPr bwMode="gray">
          <a:xfrm>
            <a:off x="3494655" y="1923932"/>
            <a:ext cx="471972" cy="449226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800" b="1" dirty="0" smtClean="0"/>
              <a:t>Косме</a:t>
            </a:r>
          </a:p>
          <a:p>
            <a:pPr algn="ctr"/>
            <a:r>
              <a:rPr lang="ru-RU" sz="800" b="1" dirty="0" smtClean="0"/>
              <a:t>тика</a:t>
            </a:r>
            <a:endParaRPr lang="en-US" sz="800" b="1" dirty="0"/>
          </a:p>
        </p:txBody>
      </p:sp>
      <p:sp>
        <p:nvSpPr>
          <p:cNvPr id="82" name="Ellipse 426"/>
          <p:cNvSpPr/>
          <p:nvPr/>
        </p:nvSpPr>
        <p:spPr bwMode="gray">
          <a:xfrm>
            <a:off x="4151191" y="1026123"/>
            <a:ext cx="683792" cy="650838"/>
          </a:xfrm>
          <a:prstGeom prst="ellipse">
            <a:avLst/>
          </a:prstGeom>
          <a:ln>
            <a:solidFill>
              <a:schemeClr val="bg2"/>
            </a:solidFill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800" b="1" dirty="0" smtClean="0"/>
              <a:t>Автотовары</a:t>
            </a:r>
            <a:endParaRPr lang="en-US" sz="800" b="1" dirty="0"/>
          </a:p>
        </p:txBody>
      </p:sp>
      <p:sp>
        <p:nvSpPr>
          <p:cNvPr id="83" name="Ellipse 426"/>
          <p:cNvSpPr/>
          <p:nvPr/>
        </p:nvSpPr>
        <p:spPr bwMode="gray">
          <a:xfrm>
            <a:off x="6618377" y="2277066"/>
            <a:ext cx="186865" cy="177859"/>
          </a:xfrm>
          <a:prstGeom prst="ellipse">
            <a:avLst/>
          </a:prstGeom>
          <a:ln>
            <a:solidFill>
              <a:schemeClr val="bg2"/>
            </a:solidFill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/>
            <a:endParaRPr lang="en-US" sz="800" b="1" dirty="0"/>
          </a:p>
        </p:txBody>
      </p:sp>
      <p:sp>
        <p:nvSpPr>
          <p:cNvPr id="84" name="Rectangle 83"/>
          <p:cNvSpPr>
            <a:spLocks noChangeArrowheads="1"/>
          </p:cNvSpPr>
          <p:nvPr/>
        </p:nvSpPr>
        <p:spPr bwMode="auto">
          <a:xfrm>
            <a:off x="3943089" y="720505"/>
            <a:ext cx="407189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ru-RU" altLang="uk-UA" sz="1200" b="1" dirty="0" smtClean="0">
                <a:solidFill>
                  <a:srgbClr val="000000"/>
                </a:solidFill>
              </a:rPr>
              <a:t>Какие товары больше покупают через соцсети</a:t>
            </a:r>
            <a:endParaRPr lang="uk-UA" altLang="uk-UA" sz="1200" b="1" dirty="0">
              <a:solidFill>
                <a:srgbClr val="000000"/>
              </a:solidFill>
            </a:endParaRPr>
          </a:p>
        </p:txBody>
      </p:sp>
      <p:cxnSp>
        <p:nvCxnSpPr>
          <p:cNvPr id="85" name="Straight Connector 84"/>
          <p:cNvCxnSpPr/>
          <p:nvPr/>
        </p:nvCxnSpPr>
        <p:spPr>
          <a:xfrm flipH="1" flipV="1">
            <a:off x="3076992" y="640775"/>
            <a:ext cx="16606" cy="2036952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19196" y="211280"/>
            <a:ext cx="6408738" cy="476785"/>
          </a:xfrm>
        </p:spPr>
        <p:txBody>
          <a:bodyPr/>
          <a:lstStyle/>
          <a:p>
            <a:r>
              <a:rPr lang="ru-RU" dirty="0" smtClean="0"/>
              <a:t>Портрет покупателя, пол и возраст 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3294" y="3048680"/>
            <a:ext cx="8791194" cy="1908213"/>
          </a:xfrm>
          <a:prstGeom prst="rect">
            <a:avLst/>
          </a:prstGeom>
        </p:spPr>
      </p:pic>
      <p:sp>
        <p:nvSpPr>
          <p:cNvPr id="88" name="Rectangle 87"/>
          <p:cNvSpPr/>
          <p:nvPr/>
        </p:nvSpPr>
        <p:spPr bwMode="gray">
          <a:xfrm>
            <a:off x="98057" y="2691045"/>
            <a:ext cx="8895275" cy="227429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uk-UA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Freihandform 95"/>
          <p:cNvSpPr/>
          <p:nvPr>
            <p:custDataLst>
              <p:tags r:id="rId1"/>
            </p:custDataLst>
          </p:nvPr>
        </p:nvSpPr>
        <p:spPr bwMode="gray">
          <a:xfrm rot="8969610" flipV="1">
            <a:off x="2736410" y="1459934"/>
            <a:ext cx="4056266" cy="2384649"/>
          </a:xfrm>
          <a:custGeom>
            <a:avLst/>
            <a:gdLst>
              <a:gd name="connsiteX0" fmla="*/ 0 w 8513910"/>
              <a:gd name="connsiteY0" fmla="*/ 430306 h 430306"/>
              <a:gd name="connsiteX1" fmla="*/ 4771785 w 8513910"/>
              <a:gd name="connsiteY1" fmla="*/ 330414 h 430306"/>
              <a:gd name="connsiteX2" fmla="*/ 8513910 w 8513910"/>
              <a:gd name="connsiteY2" fmla="*/ 0 h 430306"/>
              <a:gd name="connsiteX0" fmla="*/ 0 w 8513910"/>
              <a:gd name="connsiteY0" fmla="*/ 430306 h 430306"/>
              <a:gd name="connsiteX1" fmla="*/ 2635624 w 8513910"/>
              <a:gd name="connsiteY1" fmla="*/ 138313 h 430306"/>
              <a:gd name="connsiteX2" fmla="*/ 4771785 w 8513910"/>
              <a:gd name="connsiteY2" fmla="*/ 330414 h 430306"/>
              <a:gd name="connsiteX3" fmla="*/ 8513910 w 8513910"/>
              <a:gd name="connsiteY3" fmla="*/ 0 h 430306"/>
              <a:gd name="connsiteX0" fmla="*/ 0 w 8513910"/>
              <a:gd name="connsiteY0" fmla="*/ 430306 h 430306"/>
              <a:gd name="connsiteX1" fmla="*/ 4771785 w 8513910"/>
              <a:gd name="connsiteY1" fmla="*/ 330414 h 430306"/>
              <a:gd name="connsiteX2" fmla="*/ 8513910 w 8513910"/>
              <a:gd name="connsiteY2" fmla="*/ 0 h 430306"/>
              <a:gd name="connsiteX0" fmla="*/ 0 w 8513910"/>
              <a:gd name="connsiteY0" fmla="*/ 430306 h 431860"/>
              <a:gd name="connsiteX1" fmla="*/ 4771785 w 8513910"/>
              <a:gd name="connsiteY1" fmla="*/ 330414 h 431860"/>
              <a:gd name="connsiteX2" fmla="*/ 8513910 w 8513910"/>
              <a:gd name="connsiteY2" fmla="*/ 0 h 431860"/>
              <a:gd name="connsiteX0" fmla="*/ 0 w 8513910"/>
              <a:gd name="connsiteY0" fmla="*/ 430306 h 430306"/>
              <a:gd name="connsiteX1" fmla="*/ 8513910 w 8513910"/>
              <a:gd name="connsiteY1" fmla="*/ 0 h 430306"/>
              <a:gd name="connsiteX0" fmla="*/ 0 w 8513910"/>
              <a:gd name="connsiteY0" fmla="*/ 430306 h 430564"/>
              <a:gd name="connsiteX1" fmla="*/ 8513910 w 8513910"/>
              <a:gd name="connsiteY1" fmla="*/ 0 h 430564"/>
              <a:gd name="connsiteX0" fmla="*/ 0 w 8513910"/>
              <a:gd name="connsiteY0" fmla="*/ 430306 h 432958"/>
              <a:gd name="connsiteX1" fmla="*/ 8513910 w 8513910"/>
              <a:gd name="connsiteY1" fmla="*/ 0 h 432958"/>
              <a:gd name="connsiteX0" fmla="*/ 0 w 8555645"/>
              <a:gd name="connsiteY0" fmla="*/ 456626 h 458296"/>
              <a:gd name="connsiteX1" fmla="*/ 8555645 w 8555645"/>
              <a:gd name="connsiteY1" fmla="*/ 0 h 458296"/>
              <a:gd name="connsiteX0" fmla="*/ 0 w 8555645"/>
              <a:gd name="connsiteY0" fmla="*/ 456626 h 456626"/>
              <a:gd name="connsiteX1" fmla="*/ 8555645 w 8555645"/>
              <a:gd name="connsiteY1" fmla="*/ 0 h 456626"/>
              <a:gd name="connsiteX0" fmla="*/ 0 w 8555645"/>
              <a:gd name="connsiteY0" fmla="*/ 456626 h 457852"/>
              <a:gd name="connsiteX1" fmla="*/ 8555645 w 8555645"/>
              <a:gd name="connsiteY1" fmla="*/ 0 h 457852"/>
              <a:gd name="connsiteX0" fmla="*/ 0 w 8555645"/>
              <a:gd name="connsiteY0" fmla="*/ 456626 h 456626"/>
              <a:gd name="connsiteX1" fmla="*/ 8555645 w 8555645"/>
              <a:gd name="connsiteY1" fmla="*/ 0 h 456626"/>
              <a:gd name="connsiteX0" fmla="*/ 0 w 8555645"/>
              <a:gd name="connsiteY0" fmla="*/ 456626 h 458255"/>
              <a:gd name="connsiteX1" fmla="*/ 8555645 w 8555645"/>
              <a:gd name="connsiteY1" fmla="*/ 0 h 458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555645" h="458255">
                <a:moveTo>
                  <a:pt x="0" y="456626"/>
                </a:moveTo>
                <a:cubicBezTo>
                  <a:pt x="41939" y="466699"/>
                  <a:pt x="8545399" y="443112"/>
                  <a:pt x="8555645" y="0"/>
                </a:cubicBezTo>
              </a:path>
            </a:pathLst>
          </a:custGeom>
          <a:ln w="19050">
            <a:headEnd type="triangle" w="med" len="med"/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0" name="Freihandform 95"/>
          <p:cNvSpPr/>
          <p:nvPr>
            <p:custDataLst>
              <p:tags r:id="rId2"/>
            </p:custDataLst>
          </p:nvPr>
        </p:nvSpPr>
        <p:spPr bwMode="gray">
          <a:xfrm rot="8969610" flipV="1">
            <a:off x="905594" y="1800614"/>
            <a:ext cx="2850008" cy="1630248"/>
          </a:xfrm>
          <a:custGeom>
            <a:avLst/>
            <a:gdLst>
              <a:gd name="connsiteX0" fmla="*/ 0 w 8513910"/>
              <a:gd name="connsiteY0" fmla="*/ 430306 h 430306"/>
              <a:gd name="connsiteX1" fmla="*/ 4771785 w 8513910"/>
              <a:gd name="connsiteY1" fmla="*/ 330414 h 430306"/>
              <a:gd name="connsiteX2" fmla="*/ 8513910 w 8513910"/>
              <a:gd name="connsiteY2" fmla="*/ 0 h 430306"/>
              <a:gd name="connsiteX0" fmla="*/ 0 w 8513910"/>
              <a:gd name="connsiteY0" fmla="*/ 430306 h 430306"/>
              <a:gd name="connsiteX1" fmla="*/ 2635624 w 8513910"/>
              <a:gd name="connsiteY1" fmla="*/ 138313 h 430306"/>
              <a:gd name="connsiteX2" fmla="*/ 4771785 w 8513910"/>
              <a:gd name="connsiteY2" fmla="*/ 330414 h 430306"/>
              <a:gd name="connsiteX3" fmla="*/ 8513910 w 8513910"/>
              <a:gd name="connsiteY3" fmla="*/ 0 h 430306"/>
              <a:gd name="connsiteX0" fmla="*/ 0 w 8513910"/>
              <a:gd name="connsiteY0" fmla="*/ 430306 h 430306"/>
              <a:gd name="connsiteX1" fmla="*/ 4771785 w 8513910"/>
              <a:gd name="connsiteY1" fmla="*/ 330414 h 430306"/>
              <a:gd name="connsiteX2" fmla="*/ 8513910 w 8513910"/>
              <a:gd name="connsiteY2" fmla="*/ 0 h 430306"/>
              <a:gd name="connsiteX0" fmla="*/ 0 w 8513910"/>
              <a:gd name="connsiteY0" fmla="*/ 430306 h 431860"/>
              <a:gd name="connsiteX1" fmla="*/ 4771785 w 8513910"/>
              <a:gd name="connsiteY1" fmla="*/ 330414 h 431860"/>
              <a:gd name="connsiteX2" fmla="*/ 8513910 w 8513910"/>
              <a:gd name="connsiteY2" fmla="*/ 0 h 431860"/>
              <a:gd name="connsiteX0" fmla="*/ 0 w 8513910"/>
              <a:gd name="connsiteY0" fmla="*/ 430306 h 430306"/>
              <a:gd name="connsiteX1" fmla="*/ 8513910 w 8513910"/>
              <a:gd name="connsiteY1" fmla="*/ 0 h 430306"/>
              <a:gd name="connsiteX0" fmla="*/ 0 w 8513910"/>
              <a:gd name="connsiteY0" fmla="*/ 430306 h 430564"/>
              <a:gd name="connsiteX1" fmla="*/ 8513910 w 8513910"/>
              <a:gd name="connsiteY1" fmla="*/ 0 h 430564"/>
              <a:gd name="connsiteX0" fmla="*/ 0 w 8513910"/>
              <a:gd name="connsiteY0" fmla="*/ 430306 h 432958"/>
              <a:gd name="connsiteX1" fmla="*/ 8513910 w 8513910"/>
              <a:gd name="connsiteY1" fmla="*/ 0 h 432958"/>
              <a:gd name="connsiteX0" fmla="*/ 0 w 8555645"/>
              <a:gd name="connsiteY0" fmla="*/ 456626 h 458296"/>
              <a:gd name="connsiteX1" fmla="*/ 8555645 w 8555645"/>
              <a:gd name="connsiteY1" fmla="*/ 0 h 458296"/>
              <a:gd name="connsiteX0" fmla="*/ 0 w 8555645"/>
              <a:gd name="connsiteY0" fmla="*/ 456626 h 456626"/>
              <a:gd name="connsiteX1" fmla="*/ 8555645 w 8555645"/>
              <a:gd name="connsiteY1" fmla="*/ 0 h 456626"/>
              <a:gd name="connsiteX0" fmla="*/ 0 w 8555645"/>
              <a:gd name="connsiteY0" fmla="*/ 456626 h 457852"/>
              <a:gd name="connsiteX1" fmla="*/ 8555645 w 8555645"/>
              <a:gd name="connsiteY1" fmla="*/ 0 h 457852"/>
              <a:gd name="connsiteX0" fmla="*/ 0 w 8555645"/>
              <a:gd name="connsiteY0" fmla="*/ 456626 h 456626"/>
              <a:gd name="connsiteX1" fmla="*/ 8555645 w 8555645"/>
              <a:gd name="connsiteY1" fmla="*/ 0 h 456626"/>
              <a:gd name="connsiteX0" fmla="*/ 0 w 8555645"/>
              <a:gd name="connsiteY0" fmla="*/ 456626 h 458255"/>
              <a:gd name="connsiteX1" fmla="*/ 8555645 w 8555645"/>
              <a:gd name="connsiteY1" fmla="*/ 0 h 458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555645" h="458255">
                <a:moveTo>
                  <a:pt x="0" y="456626"/>
                </a:moveTo>
                <a:cubicBezTo>
                  <a:pt x="41939" y="466699"/>
                  <a:pt x="8545399" y="443112"/>
                  <a:pt x="8555645" y="0"/>
                </a:cubicBezTo>
              </a:path>
            </a:pathLst>
          </a:custGeom>
          <a:ln w="19050"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1025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78" grpId="0" animBg="1"/>
      <p:bldP spid="80" grpId="0" animBg="1"/>
      <p:bldP spid="81" grpId="0" animBg="1"/>
      <p:bldP spid="82" grpId="0" animBg="1"/>
      <p:bldP spid="83" grpId="0" animBg="1"/>
      <p:bldP spid="84" grpId="0"/>
      <p:bldP spid="88" grpId="0" animBg="1"/>
      <p:bldP spid="51" grpId="0" animBg="1"/>
      <p:bldP spid="5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ртрет покупателя, </a:t>
            </a:r>
            <a:r>
              <a:rPr lang="uk-UA" dirty="0" smtClean="0"/>
              <a:t>деятельность и доход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655" y="700582"/>
            <a:ext cx="8718036" cy="2444708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gray">
          <a:xfrm>
            <a:off x="7668344" y="914131"/>
            <a:ext cx="805220" cy="21602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uk-UA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435" y="3074371"/>
            <a:ext cx="8858256" cy="2127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666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tle 3"/>
          <p:cNvSpPr>
            <a:spLocks noGrp="1"/>
          </p:cNvSpPr>
          <p:nvPr>
            <p:ph type="title"/>
          </p:nvPr>
        </p:nvSpPr>
        <p:spPr>
          <a:xfrm>
            <a:off x="323414" y="195420"/>
            <a:ext cx="6408889" cy="555191"/>
          </a:xfrm>
        </p:spPr>
        <p:txBody>
          <a:bodyPr/>
          <a:lstStyle/>
          <a:p>
            <a:r>
              <a:rPr lang="ru-RU" dirty="0"/>
              <a:t>Портрет </a:t>
            </a:r>
            <a:r>
              <a:rPr lang="ru-RU" dirty="0" smtClean="0"/>
              <a:t>покупателя, география  </a:t>
            </a:r>
            <a:endParaRPr lang="ru-RU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53" y="4637558"/>
            <a:ext cx="9013162" cy="22245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6552" y="403855"/>
            <a:ext cx="10150720" cy="424928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23546">
            <a:off x="2196814" y="1629344"/>
            <a:ext cx="4316342" cy="2389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278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91190" y="1707654"/>
            <a:ext cx="326552" cy="955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vert270" wrap="none" lIns="77877" tIns="38939" rIns="77877" bIns="38939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latin typeface="Arial" charset="0"/>
              </a:rPr>
              <a:t>Млрд. гривен</a:t>
            </a:r>
          </a:p>
        </p:txBody>
      </p:sp>
      <p:sp>
        <p:nvSpPr>
          <p:cNvPr id="10" name="Text Box 5"/>
          <p:cNvSpPr txBox="1">
            <a:spLocks noChangeArrowheads="1"/>
          </p:cNvSpPr>
          <p:nvPr/>
        </p:nvSpPr>
        <p:spPr bwMode="auto">
          <a:xfrm>
            <a:off x="250825" y="4699496"/>
            <a:ext cx="5376863" cy="186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7877" tIns="38939" rIns="77877" bIns="38939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00" dirty="0" smtClean="0">
                <a:solidFill>
                  <a:schemeClr val="bg2"/>
                </a:solidFill>
                <a:latin typeface="+mn-lt"/>
              </a:rPr>
              <a:t>2015-2017 </a:t>
            </a:r>
            <a:r>
              <a:rPr lang="ru-RU" sz="700" dirty="0">
                <a:solidFill>
                  <a:schemeClr val="bg2"/>
                </a:solidFill>
                <a:latin typeface="+mn-lt"/>
              </a:rPr>
              <a:t>г. </a:t>
            </a:r>
            <a:r>
              <a:rPr lang="ru-RU" sz="700" dirty="0">
                <a:solidFill>
                  <a:schemeClr val="bg2"/>
                </a:solidFill>
              </a:rPr>
              <a:t>з</a:t>
            </a:r>
            <a:r>
              <a:rPr lang="ru-RU" sz="700" dirty="0" smtClean="0">
                <a:solidFill>
                  <a:schemeClr val="bg2"/>
                </a:solidFill>
              </a:rPr>
              <a:t>а </a:t>
            </a:r>
            <a:r>
              <a:rPr lang="ru-RU" sz="700" dirty="0">
                <a:solidFill>
                  <a:schemeClr val="bg2"/>
                </a:solidFill>
              </a:rPr>
              <a:t>исключением Крыма и «зоны АТО»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" name="Rectangle 1"/>
          <p:cNvSpPr/>
          <p:nvPr/>
        </p:nvSpPr>
        <p:spPr bwMode="gray">
          <a:xfrm>
            <a:off x="8818563" y="2886075"/>
            <a:ext cx="215900" cy="14128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uk-UA" sz="1600" dirty="0">
              <a:solidFill>
                <a:schemeClr val="tx1"/>
              </a:solidFill>
              <a:cs typeface="Arial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491182" y="3464892"/>
            <a:ext cx="8437274" cy="1190666"/>
            <a:chOff x="491182" y="3464892"/>
            <a:chExt cx="8437274" cy="1190666"/>
          </a:xfrm>
        </p:grpSpPr>
        <p:sp>
          <p:nvSpPr>
            <p:cNvPr id="33" name="Oval 32"/>
            <p:cNvSpPr/>
            <p:nvPr/>
          </p:nvSpPr>
          <p:spPr bwMode="gray">
            <a:xfrm>
              <a:off x="491182" y="3794068"/>
              <a:ext cx="620262" cy="620262"/>
            </a:xfrm>
            <a:prstGeom prst="ellipse">
              <a:avLst/>
            </a:prstGeom>
            <a:ln w="12700">
              <a:prstDash val="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12" tIns="45706" rIns="91412" bIns="45706" anchor="ctr"/>
            <a:lstStyle/>
            <a:p>
              <a:pPr algn="ctr" eaLnBrk="1" fontAlgn="auto" hangingPunct="1">
                <a:spcBef>
                  <a:spcPts val="300"/>
                </a:spcBef>
                <a:spcAft>
                  <a:spcPts val="0"/>
                </a:spcAft>
                <a:defRPr/>
              </a:pPr>
              <a:endParaRPr lang="uk-UA" sz="1600" dirty="0" err="1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27" name="Oval 26"/>
            <p:cNvSpPr/>
            <p:nvPr/>
          </p:nvSpPr>
          <p:spPr bwMode="gray">
            <a:xfrm>
              <a:off x="2720220" y="3905847"/>
              <a:ext cx="619125" cy="617919"/>
            </a:xfrm>
            <a:prstGeom prst="ellipse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12" tIns="45706" rIns="91412" bIns="45706" anchor="ctr"/>
            <a:lstStyle/>
            <a:p>
              <a:pPr algn="ctr" eaLnBrk="1" fontAlgn="auto" hangingPunct="1">
                <a:spcBef>
                  <a:spcPts val="300"/>
                </a:spcBef>
                <a:spcAft>
                  <a:spcPts val="0"/>
                </a:spcAft>
                <a:defRPr/>
              </a:pPr>
              <a:endParaRPr lang="uk-UA" sz="1600" dirty="0" err="1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28" name="Oval 27"/>
            <p:cNvSpPr/>
            <p:nvPr/>
          </p:nvSpPr>
          <p:spPr bwMode="gray">
            <a:xfrm>
              <a:off x="3792797" y="3870082"/>
              <a:ext cx="622813" cy="62281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  <a:prstDash val="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12" tIns="45706" rIns="91412" bIns="45706" anchor="ctr"/>
            <a:lstStyle/>
            <a:p>
              <a:pPr algn="ctr" eaLnBrk="1" fontAlgn="auto" hangingPunct="1">
                <a:spcBef>
                  <a:spcPts val="300"/>
                </a:spcBef>
                <a:spcAft>
                  <a:spcPts val="0"/>
                </a:spcAft>
                <a:defRPr/>
              </a:pPr>
              <a:endParaRPr lang="uk-UA" sz="1600" dirty="0" err="1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93035" y="3981043"/>
              <a:ext cx="474603" cy="392112"/>
            </a:xfrm>
            <a:prstGeom prst="rect">
              <a:avLst/>
            </a:prstGeom>
            <a:noFill/>
          </p:spPr>
          <p:txBody>
            <a:bodyPr lIns="0" tIns="0" rIns="0" bIns="0"/>
            <a:lstStyle/>
            <a:p>
              <a:pPr algn="ctr" eaLnBrk="1" fontAlgn="auto" hangingPunct="1">
                <a:spcBef>
                  <a:spcPts val="300"/>
                </a:spcBef>
                <a:spcAft>
                  <a:spcPts val="0"/>
                </a:spcAft>
                <a:defRPr/>
              </a:pPr>
              <a:r>
                <a:rPr lang="en-US" sz="1799" b="1" dirty="0" smtClean="0">
                  <a:solidFill>
                    <a:schemeClr val="accent2"/>
                  </a:solidFill>
                  <a:cs typeface="Arial" pitchFamily="34" charset="0"/>
                </a:rPr>
                <a:t>24</a:t>
              </a:r>
              <a:r>
                <a:rPr lang="en-GB" sz="1799" b="1" dirty="0" smtClean="0">
                  <a:solidFill>
                    <a:schemeClr val="accent2"/>
                  </a:solidFill>
                  <a:cs typeface="Arial" pitchFamily="34" charset="0"/>
                </a:rPr>
                <a:t>%</a:t>
              </a:r>
              <a:r>
                <a:rPr lang="ru-RU" sz="1799" b="1" dirty="0" smtClean="0">
                  <a:solidFill>
                    <a:schemeClr val="accent2"/>
                  </a:solidFill>
                  <a:cs typeface="Arial" pitchFamily="34" charset="0"/>
                </a:rPr>
                <a:t> </a:t>
              </a:r>
              <a:endParaRPr lang="en-GB" sz="1799" b="1" dirty="0">
                <a:solidFill>
                  <a:schemeClr val="accent2"/>
                </a:solidFill>
                <a:cs typeface="Arial" pitchFamily="34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858518" y="4061802"/>
              <a:ext cx="566738" cy="296863"/>
            </a:xfrm>
            <a:prstGeom prst="rect">
              <a:avLst/>
            </a:prstGeom>
            <a:noFill/>
          </p:spPr>
          <p:txBody>
            <a:bodyPr lIns="0" tIns="0" rIns="0" bIns="0"/>
            <a:lstStyle/>
            <a:p>
              <a:pPr algn="ctr" eaLnBrk="1" fontAlgn="auto" hangingPunct="1">
                <a:spcBef>
                  <a:spcPts val="300"/>
                </a:spcBef>
                <a:spcAft>
                  <a:spcPts val="0"/>
                </a:spcAft>
                <a:defRPr/>
              </a:pPr>
              <a:r>
                <a:rPr lang="en-US" sz="1799" b="1" dirty="0" smtClean="0">
                  <a:solidFill>
                    <a:schemeClr val="tx2"/>
                  </a:solidFill>
                  <a:cs typeface="Arial" pitchFamily="34" charset="0"/>
                </a:rPr>
                <a:t>33</a:t>
              </a:r>
              <a:r>
                <a:rPr lang="en-GB" sz="1799" b="1" dirty="0" smtClean="0">
                  <a:solidFill>
                    <a:schemeClr val="tx2"/>
                  </a:solidFill>
                  <a:cs typeface="Arial" pitchFamily="34" charset="0"/>
                </a:rPr>
                <a:t>%</a:t>
              </a:r>
              <a:endParaRPr lang="ru-RU" sz="1799" b="1" dirty="0" err="1">
                <a:solidFill>
                  <a:schemeClr val="tx2"/>
                </a:solidFill>
                <a:cs typeface="Arial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2763243" y="4074705"/>
              <a:ext cx="571500" cy="298450"/>
            </a:xfrm>
            <a:prstGeom prst="rect">
              <a:avLst/>
            </a:prstGeom>
            <a:noFill/>
          </p:spPr>
          <p:txBody>
            <a:bodyPr lIns="0" tIns="0" rIns="0" bIns="0"/>
            <a:lstStyle/>
            <a:p>
              <a:pPr algn="ctr" eaLnBrk="1" fontAlgn="auto" hangingPunct="1">
                <a:spcBef>
                  <a:spcPts val="300"/>
                </a:spcBef>
                <a:spcAft>
                  <a:spcPts val="0"/>
                </a:spcAft>
                <a:defRPr/>
              </a:pPr>
              <a:r>
                <a:rPr lang="en-US" sz="1799" b="1" dirty="0" smtClean="0">
                  <a:solidFill>
                    <a:schemeClr val="accent1"/>
                  </a:solidFill>
                  <a:cs typeface="Arial" pitchFamily="34" charset="0"/>
                </a:rPr>
                <a:t>29</a:t>
              </a:r>
              <a:r>
                <a:rPr lang="en-GB" sz="1799" b="1" dirty="0" smtClean="0">
                  <a:solidFill>
                    <a:schemeClr val="accent1"/>
                  </a:solidFill>
                  <a:cs typeface="Arial" pitchFamily="34" charset="0"/>
                </a:rPr>
                <a:t>%</a:t>
              </a:r>
              <a:endParaRPr lang="ru-RU" sz="1799" b="1" dirty="0" err="1">
                <a:solidFill>
                  <a:schemeClr val="accent1"/>
                </a:solidFill>
                <a:cs typeface="Arial" pitchFamily="34" charset="0"/>
              </a:endParaRPr>
            </a:p>
          </p:txBody>
        </p:sp>
        <p:sp>
          <p:nvSpPr>
            <p:cNvPr id="23" name="Freeform 45"/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3949967" y="3467231"/>
              <a:ext cx="322642" cy="475408"/>
            </a:xfrm>
            <a:custGeom>
              <a:avLst/>
              <a:gdLst>
                <a:gd name="T0" fmla="*/ 600 w 1440"/>
                <a:gd name="T1" fmla="*/ 240 h 2120"/>
                <a:gd name="T2" fmla="*/ 840 w 1440"/>
                <a:gd name="T3" fmla="*/ 240 h 2120"/>
                <a:gd name="T4" fmla="*/ 880 w 1440"/>
                <a:gd name="T5" fmla="*/ 200 h 2120"/>
                <a:gd name="T6" fmla="*/ 840 w 1440"/>
                <a:gd name="T7" fmla="*/ 160 h 2120"/>
                <a:gd name="T8" fmla="*/ 600 w 1440"/>
                <a:gd name="T9" fmla="*/ 160 h 2120"/>
                <a:gd name="T10" fmla="*/ 560 w 1440"/>
                <a:gd name="T11" fmla="*/ 200 h 2120"/>
                <a:gd name="T12" fmla="*/ 600 w 1440"/>
                <a:gd name="T13" fmla="*/ 240 h 2120"/>
                <a:gd name="T14" fmla="*/ 721 w 1440"/>
                <a:gd name="T15" fmla="*/ 1759 h 2120"/>
                <a:gd name="T16" fmla="*/ 601 w 1440"/>
                <a:gd name="T17" fmla="*/ 1879 h 2120"/>
                <a:gd name="T18" fmla="*/ 721 w 1440"/>
                <a:gd name="T19" fmla="*/ 1999 h 2120"/>
                <a:gd name="T20" fmla="*/ 841 w 1440"/>
                <a:gd name="T21" fmla="*/ 1879 h 2120"/>
                <a:gd name="T22" fmla="*/ 721 w 1440"/>
                <a:gd name="T23" fmla="*/ 1759 h 2120"/>
                <a:gd name="T24" fmla="*/ 200 w 1440"/>
                <a:gd name="T25" fmla="*/ 0 h 2120"/>
                <a:gd name="T26" fmla="*/ 1240 w 1440"/>
                <a:gd name="T27" fmla="*/ 0 h 2120"/>
                <a:gd name="T28" fmla="*/ 1440 w 1440"/>
                <a:gd name="T29" fmla="*/ 200 h 2120"/>
                <a:gd name="T30" fmla="*/ 1440 w 1440"/>
                <a:gd name="T31" fmla="*/ 1920 h 2120"/>
                <a:gd name="T32" fmla="*/ 1240 w 1440"/>
                <a:gd name="T33" fmla="*/ 2120 h 2120"/>
                <a:gd name="T34" fmla="*/ 200 w 1440"/>
                <a:gd name="T35" fmla="*/ 2120 h 2120"/>
                <a:gd name="T36" fmla="*/ 0 w 1440"/>
                <a:gd name="T37" fmla="*/ 1920 h 2120"/>
                <a:gd name="T38" fmla="*/ 0 w 1440"/>
                <a:gd name="T39" fmla="*/ 200 h 2120"/>
                <a:gd name="T40" fmla="*/ 200 w 1440"/>
                <a:gd name="T41" fmla="*/ 0 h 2120"/>
                <a:gd name="T42" fmla="*/ 200 w 1440"/>
                <a:gd name="T43" fmla="*/ 360 h 2120"/>
                <a:gd name="T44" fmla="*/ 200 w 1440"/>
                <a:gd name="T45" fmla="*/ 1680 h 2120"/>
                <a:gd name="T46" fmla="*/ 1240 w 1440"/>
                <a:gd name="T47" fmla="*/ 1680 h 2120"/>
                <a:gd name="T48" fmla="*/ 1240 w 1440"/>
                <a:gd name="T49" fmla="*/ 360 h 2120"/>
                <a:gd name="T50" fmla="*/ 200 w 1440"/>
                <a:gd name="T51" fmla="*/ 360 h 2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0" h="2120">
                  <a:moveTo>
                    <a:pt x="600" y="240"/>
                  </a:moveTo>
                  <a:cubicBezTo>
                    <a:pt x="840" y="240"/>
                    <a:pt x="840" y="240"/>
                    <a:pt x="840" y="240"/>
                  </a:cubicBezTo>
                  <a:cubicBezTo>
                    <a:pt x="862" y="240"/>
                    <a:pt x="880" y="222"/>
                    <a:pt x="880" y="200"/>
                  </a:cubicBezTo>
                  <a:cubicBezTo>
                    <a:pt x="880" y="178"/>
                    <a:pt x="862" y="160"/>
                    <a:pt x="84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578" y="160"/>
                    <a:pt x="560" y="178"/>
                    <a:pt x="560" y="200"/>
                  </a:cubicBezTo>
                  <a:cubicBezTo>
                    <a:pt x="560" y="222"/>
                    <a:pt x="578" y="240"/>
                    <a:pt x="600" y="240"/>
                  </a:cubicBezTo>
                  <a:close/>
                  <a:moveTo>
                    <a:pt x="721" y="1759"/>
                  </a:moveTo>
                  <a:cubicBezTo>
                    <a:pt x="655" y="1759"/>
                    <a:pt x="601" y="1813"/>
                    <a:pt x="601" y="1879"/>
                  </a:cubicBezTo>
                  <a:cubicBezTo>
                    <a:pt x="601" y="1945"/>
                    <a:pt x="655" y="1999"/>
                    <a:pt x="721" y="1999"/>
                  </a:cubicBezTo>
                  <a:cubicBezTo>
                    <a:pt x="787" y="1999"/>
                    <a:pt x="841" y="1945"/>
                    <a:pt x="841" y="1879"/>
                  </a:cubicBezTo>
                  <a:cubicBezTo>
                    <a:pt x="841" y="1813"/>
                    <a:pt x="787" y="1759"/>
                    <a:pt x="721" y="1759"/>
                  </a:cubicBezTo>
                  <a:close/>
                  <a:moveTo>
                    <a:pt x="200" y="0"/>
                  </a:moveTo>
                  <a:cubicBezTo>
                    <a:pt x="1240" y="0"/>
                    <a:pt x="1240" y="0"/>
                    <a:pt x="1240" y="0"/>
                  </a:cubicBezTo>
                  <a:cubicBezTo>
                    <a:pt x="1350" y="0"/>
                    <a:pt x="1440" y="90"/>
                    <a:pt x="1440" y="200"/>
                  </a:cubicBezTo>
                  <a:cubicBezTo>
                    <a:pt x="1440" y="1920"/>
                    <a:pt x="1440" y="1920"/>
                    <a:pt x="1440" y="1920"/>
                  </a:cubicBezTo>
                  <a:cubicBezTo>
                    <a:pt x="1440" y="2030"/>
                    <a:pt x="1350" y="2120"/>
                    <a:pt x="1240" y="2120"/>
                  </a:cubicBezTo>
                  <a:cubicBezTo>
                    <a:pt x="200" y="2120"/>
                    <a:pt x="200" y="2120"/>
                    <a:pt x="200" y="2120"/>
                  </a:cubicBezTo>
                  <a:cubicBezTo>
                    <a:pt x="90" y="2120"/>
                    <a:pt x="0" y="2030"/>
                    <a:pt x="0" y="1920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90"/>
                    <a:pt x="90" y="0"/>
                    <a:pt x="200" y="0"/>
                  </a:cubicBezTo>
                  <a:close/>
                  <a:moveTo>
                    <a:pt x="200" y="360"/>
                  </a:moveTo>
                  <a:cubicBezTo>
                    <a:pt x="200" y="1680"/>
                    <a:pt x="200" y="1680"/>
                    <a:pt x="200" y="1680"/>
                  </a:cubicBezTo>
                  <a:cubicBezTo>
                    <a:pt x="1240" y="1680"/>
                    <a:pt x="1240" y="1680"/>
                    <a:pt x="1240" y="1680"/>
                  </a:cubicBezTo>
                  <a:cubicBezTo>
                    <a:pt x="1240" y="360"/>
                    <a:pt x="1240" y="360"/>
                    <a:pt x="1240" y="360"/>
                  </a:cubicBezTo>
                  <a:lnTo>
                    <a:pt x="200" y="36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lIns="91412" tIns="45706" rIns="91412" bIns="45706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b="1" noProof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+mn-lt"/>
              </a:endParaRPr>
            </a:p>
          </p:txBody>
        </p:sp>
        <p:sp>
          <p:nvSpPr>
            <p:cNvPr id="24" name="Freeform 112"/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2871018" y="3501146"/>
              <a:ext cx="325430" cy="445643"/>
            </a:xfrm>
            <a:custGeom>
              <a:avLst/>
              <a:gdLst>
                <a:gd name="T0" fmla="*/ 2147483647 w 1520"/>
                <a:gd name="T1" fmla="*/ 2147483647 h 2080"/>
                <a:gd name="T2" fmla="*/ 2147483647 w 1520"/>
                <a:gd name="T3" fmla="*/ 2147483647 h 2080"/>
                <a:gd name="T4" fmla="*/ 2147483647 w 1520"/>
                <a:gd name="T5" fmla="*/ 2147483647 h 2080"/>
                <a:gd name="T6" fmla="*/ 2147483647 w 1520"/>
                <a:gd name="T7" fmla="*/ 2147483647 h 2080"/>
                <a:gd name="T8" fmla="*/ 2147483647 w 1520"/>
                <a:gd name="T9" fmla="*/ 2147483647 h 2080"/>
                <a:gd name="T10" fmla="*/ 2147483647 w 1520"/>
                <a:gd name="T11" fmla="*/ 0 h 2080"/>
                <a:gd name="T12" fmla="*/ 2147483647 w 1520"/>
                <a:gd name="T13" fmla="*/ 0 h 2080"/>
                <a:gd name="T14" fmla="*/ 2147483647 w 1520"/>
                <a:gd name="T15" fmla="*/ 2147483647 h 2080"/>
                <a:gd name="T16" fmla="*/ 2147483647 w 1520"/>
                <a:gd name="T17" fmla="*/ 2147483647 h 2080"/>
                <a:gd name="T18" fmla="*/ 2147483647 w 1520"/>
                <a:gd name="T19" fmla="*/ 0 h 2080"/>
                <a:gd name="T20" fmla="*/ 2147483647 w 1520"/>
                <a:gd name="T21" fmla="*/ 0 h 2080"/>
                <a:gd name="T22" fmla="*/ 0 w 1520"/>
                <a:gd name="T23" fmla="*/ 0 h 2080"/>
                <a:gd name="T24" fmla="*/ 0 w 1520"/>
                <a:gd name="T25" fmla="*/ 2147483647 h 2080"/>
                <a:gd name="T26" fmla="*/ 2147483647 w 1520"/>
                <a:gd name="T27" fmla="*/ 2147483647 h 2080"/>
                <a:gd name="T28" fmla="*/ 2147483647 w 1520"/>
                <a:gd name="T29" fmla="*/ 0 h 2080"/>
                <a:gd name="T30" fmla="*/ 0 w 1520"/>
                <a:gd name="T31" fmla="*/ 2147483647 h 2080"/>
                <a:gd name="T32" fmla="*/ 0 w 1520"/>
                <a:gd name="T33" fmla="*/ 2147483647 h 2080"/>
                <a:gd name="T34" fmla="*/ 2147483647 w 1520"/>
                <a:gd name="T35" fmla="*/ 2147483647 h 2080"/>
                <a:gd name="T36" fmla="*/ 2147483647 w 1520"/>
                <a:gd name="T37" fmla="*/ 2147483647 h 2080"/>
                <a:gd name="T38" fmla="*/ 0 w 1520"/>
                <a:gd name="T39" fmla="*/ 2147483647 h 2080"/>
                <a:gd name="T40" fmla="*/ 2147483647 w 1520"/>
                <a:gd name="T41" fmla="*/ 2147483647 h 2080"/>
                <a:gd name="T42" fmla="*/ 2147483647 w 1520"/>
                <a:gd name="T43" fmla="*/ 2147483647 h 2080"/>
                <a:gd name="T44" fmla="*/ 2147483647 w 1520"/>
                <a:gd name="T45" fmla="*/ 2147483647 h 2080"/>
                <a:gd name="T46" fmla="*/ 2147483647 w 1520"/>
                <a:gd name="T47" fmla="*/ 2147483647 h 2080"/>
                <a:gd name="T48" fmla="*/ 2147483647 w 1520"/>
                <a:gd name="T49" fmla="*/ 2147483647 h 2080"/>
                <a:gd name="T50" fmla="*/ 2147483647 w 1520"/>
                <a:gd name="T51" fmla="*/ 2147483647 h 2080"/>
                <a:gd name="T52" fmla="*/ 2147483647 w 1520"/>
                <a:gd name="T53" fmla="*/ 2147483647 h 2080"/>
                <a:gd name="T54" fmla="*/ 2147483647 w 1520"/>
                <a:gd name="T55" fmla="*/ 2147483647 h 2080"/>
                <a:gd name="T56" fmla="*/ 2147483647 w 1520"/>
                <a:gd name="T57" fmla="*/ 2147483647 h 2080"/>
                <a:gd name="T58" fmla="*/ 2147483647 w 1520"/>
                <a:gd name="T59" fmla="*/ 2147483647 h 2080"/>
                <a:gd name="T60" fmla="*/ 2147483647 w 1520"/>
                <a:gd name="T61" fmla="*/ 2147483647 h 2080"/>
                <a:gd name="T62" fmla="*/ 2147483647 w 1520"/>
                <a:gd name="T63" fmla="*/ 2147483647 h 2080"/>
                <a:gd name="T64" fmla="*/ 2147483647 w 1520"/>
                <a:gd name="T65" fmla="*/ 2147483647 h 2080"/>
                <a:gd name="T66" fmla="*/ 2147483647 w 1520"/>
                <a:gd name="T67" fmla="*/ 2147483647 h 2080"/>
                <a:gd name="T68" fmla="*/ 2147483647 w 1520"/>
                <a:gd name="T69" fmla="*/ 2147483647 h 2080"/>
                <a:gd name="T70" fmla="*/ 2147483647 w 1520"/>
                <a:gd name="T71" fmla="*/ 2147483647 h 2080"/>
                <a:gd name="T72" fmla="*/ 2147483647 w 1520"/>
                <a:gd name="T73" fmla="*/ 2147483647 h 2080"/>
                <a:gd name="T74" fmla="*/ 2147483647 w 1520"/>
                <a:gd name="T75" fmla="*/ 2147483647 h 2080"/>
                <a:gd name="T76" fmla="*/ 2147483647 w 1520"/>
                <a:gd name="T77" fmla="*/ 2147483647 h 2080"/>
                <a:gd name="T78" fmla="*/ 2147483647 w 1520"/>
                <a:gd name="T79" fmla="*/ 2147483647 h 2080"/>
                <a:gd name="T80" fmla="*/ 2147483647 w 1520"/>
                <a:gd name="T81" fmla="*/ 2147483647 h 2080"/>
                <a:gd name="T82" fmla="*/ 2147483647 w 1520"/>
                <a:gd name="T83" fmla="*/ 2147483647 h 2080"/>
                <a:gd name="T84" fmla="*/ 2147483647 w 1520"/>
                <a:gd name="T85" fmla="*/ 2147483647 h 2080"/>
                <a:gd name="T86" fmla="*/ 2147483647 w 1520"/>
                <a:gd name="T87" fmla="*/ 2147483647 h 2080"/>
                <a:gd name="T88" fmla="*/ 2147483647 w 1520"/>
                <a:gd name="T89" fmla="*/ 2147483647 h 208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520" h="2080">
                  <a:moveTo>
                    <a:pt x="1080" y="140"/>
                  </a:moveTo>
                  <a:cubicBezTo>
                    <a:pt x="1124" y="140"/>
                    <a:pt x="1160" y="176"/>
                    <a:pt x="1160" y="220"/>
                  </a:cubicBezTo>
                  <a:cubicBezTo>
                    <a:pt x="1160" y="264"/>
                    <a:pt x="1124" y="300"/>
                    <a:pt x="1080" y="300"/>
                  </a:cubicBezTo>
                  <a:cubicBezTo>
                    <a:pt x="1036" y="300"/>
                    <a:pt x="1000" y="264"/>
                    <a:pt x="1000" y="220"/>
                  </a:cubicBezTo>
                  <a:cubicBezTo>
                    <a:pt x="1000" y="176"/>
                    <a:pt x="1036" y="140"/>
                    <a:pt x="1080" y="140"/>
                  </a:cubicBezTo>
                  <a:close/>
                  <a:moveTo>
                    <a:pt x="1520" y="0"/>
                  </a:moveTo>
                  <a:cubicBezTo>
                    <a:pt x="520" y="0"/>
                    <a:pt x="520" y="0"/>
                    <a:pt x="520" y="0"/>
                  </a:cubicBezTo>
                  <a:cubicBezTo>
                    <a:pt x="520" y="360"/>
                    <a:pt x="520" y="360"/>
                    <a:pt x="520" y="360"/>
                  </a:cubicBezTo>
                  <a:cubicBezTo>
                    <a:pt x="1520" y="360"/>
                    <a:pt x="1520" y="360"/>
                    <a:pt x="1520" y="360"/>
                  </a:cubicBezTo>
                  <a:lnTo>
                    <a:pt x="1520" y="0"/>
                  </a:lnTo>
                  <a:close/>
                  <a:moveTo>
                    <a:pt x="44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60"/>
                    <a:pt x="0" y="360"/>
                    <a:pt x="0" y="360"/>
                  </a:cubicBezTo>
                  <a:cubicBezTo>
                    <a:pt x="440" y="360"/>
                    <a:pt x="440" y="360"/>
                    <a:pt x="440" y="360"/>
                  </a:cubicBezTo>
                  <a:lnTo>
                    <a:pt x="440" y="0"/>
                  </a:lnTo>
                  <a:close/>
                  <a:moveTo>
                    <a:pt x="0" y="440"/>
                  </a:moveTo>
                  <a:cubicBezTo>
                    <a:pt x="0" y="2080"/>
                    <a:pt x="0" y="2080"/>
                    <a:pt x="0" y="2080"/>
                  </a:cubicBezTo>
                  <a:cubicBezTo>
                    <a:pt x="1520" y="2080"/>
                    <a:pt x="1520" y="2080"/>
                    <a:pt x="1520" y="2080"/>
                  </a:cubicBezTo>
                  <a:cubicBezTo>
                    <a:pt x="1520" y="440"/>
                    <a:pt x="1520" y="440"/>
                    <a:pt x="1520" y="440"/>
                  </a:cubicBezTo>
                  <a:lnTo>
                    <a:pt x="0" y="440"/>
                  </a:lnTo>
                  <a:close/>
                  <a:moveTo>
                    <a:pt x="1320" y="1240"/>
                  </a:moveTo>
                  <a:cubicBezTo>
                    <a:pt x="1320" y="1549"/>
                    <a:pt x="1069" y="1800"/>
                    <a:pt x="760" y="1800"/>
                  </a:cubicBezTo>
                  <a:cubicBezTo>
                    <a:pt x="451" y="1800"/>
                    <a:pt x="200" y="1549"/>
                    <a:pt x="200" y="1240"/>
                  </a:cubicBezTo>
                  <a:cubicBezTo>
                    <a:pt x="200" y="931"/>
                    <a:pt x="451" y="680"/>
                    <a:pt x="760" y="680"/>
                  </a:cubicBezTo>
                  <a:cubicBezTo>
                    <a:pt x="1069" y="680"/>
                    <a:pt x="1320" y="931"/>
                    <a:pt x="1320" y="1240"/>
                  </a:cubicBezTo>
                  <a:close/>
                  <a:moveTo>
                    <a:pt x="760" y="760"/>
                  </a:moveTo>
                  <a:cubicBezTo>
                    <a:pt x="495" y="760"/>
                    <a:pt x="280" y="975"/>
                    <a:pt x="280" y="1240"/>
                  </a:cubicBezTo>
                  <a:cubicBezTo>
                    <a:pt x="280" y="1505"/>
                    <a:pt x="495" y="1720"/>
                    <a:pt x="760" y="1720"/>
                  </a:cubicBezTo>
                  <a:cubicBezTo>
                    <a:pt x="1025" y="1720"/>
                    <a:pt x="1240" y="1505"/>
                    <a:pt x="1240" y="1240"/>
                  </a:cubicBezTo>
                  <a:cubicBezTo>
                    <a:pt x="1240" y="975"/>
                    <a:pt x="1025" y="760"/>
                    <a:pt x="760" y="760"/>
                  </a:cubicBezTo>
                  <a:close/>
                  <a:moveTo>
                    <a:pt x="1160" y="1240"/>
                  </a:moveTo>
                  <a:cubicBezTo>
                    <a:pt x="1160" y="1461"/>
                    <a:pt x="981" y="1640"/>
                    <a:pt x="760" y="1640"/>
                  </a:cubicBezTo>
                  <a:cubicBezTo>
                    <a:pt x="539" y="1640"/>
                    <a:pt x="360" y="1461"/>
                    <a:pt x="360" y="1240"/>
                  </a:cubicBezTo>
                  <a:cubicBezTo>
                    <a:pt x="360" y="1019"/>
                    <a:pt x="539" y="840"/>
                    <a:pt x="760" y="840"/>
                  </a:cubicBezTo>
                  <a:cubicBezTo>
                    <a:pt x="981" y="840"/>
                    <a:pt x="1160" y="1019"/>
                    <a:pt x="1160" y="1240"/>
                  </a:cubicBezTo>
                  <a:close/>
                  <a:moveTo>
                    <a:pt x="1080" y="1240"/>
                  </a:moveTo>
                  <a:cubicBezTo>
                    <a:pt x="1080" y="1063"/>
                    <a:pt x="937" y="920"/>
                    <a:pt x="760" y="920"/>
                  </a:cubicBezTo>
                  <a:cubicBezTo>
                    <a:pt x="583" y="920"/>
                    <a:pt x="440" y="1063"/>
                    <a:pt x="440" y="1240"/>
                  </a:cubicBezTo>
                  <a:cubicBezTo>
                    <a:pt x="440" y="1417"/>
                    <a:pt x="583" y="1560"/>
                    <a:pt x="760" y="1560"/>
                  </a:cubicBezTo>
                  <a:cubicBezTo>
                    <a:pt x="937" y="1560"/>
                    <a:pt x="1080" y="1417"/>
                    <a:pt x="1080" y="1240"/>
                  </a:cubicBezTo>
                  <a:close/>
                  <a:moveTo>
                    <a:pt x="1280" y="140"/>
                  </a:moveTo>
                  <a:cubicBezTo>
                    <a:pt x="1324" y="140"/>
                    <a:pt x="1360" y="176"/>
                    <a:pt x="1360" y="220"/>
                  </a:cubicBezTo>
                  <a:cubicBezTo>
                    <a:pt x="1360" y="264"/>
                    <a:pt x="1324" y="300"/>
                    <a:pt x="1280" y="300"/>
                  </a:cubicBezTo>
                  <a:cubicBezTo>
                    <a:pt x="1236" y="300"/>
                    <a:pt x="1200" y="264"/>
                    <a:pt x="1200" y="220"/>
                  </a:cubicBezTo>
                  <a:cubicBezTo>
                    <a:pt x="1200" y="176"/>
                    <a:pt x="1236" y="140"/>
                    <a:pt x="1280" y="14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lIns="91412" tIns="45706" rIns="91412" bIns="45706"/>
            <a:lstStyle/>
            <a:p>
              <a:endParaRPr lang="en-US"/>
            </a:p>
          </p:txBody>
        </p:sp>
        <p:sp>
          <p:nvSpPr>
            <p:cNvPr id="29" name="Freeform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 rot="4891553">
              <a:off x="7606027" y="3086711"/>
              <a:ext cx="555625" cy="1330709"/>
            </a:xfrm>
            <a:custGeom>
              <a:avLst/>
              <a:gdLst/>
              <a:ahLst/>
              <a:cxnLst/>
              <a:rect l="l" t="t" r="r" b="b"/>
              <a:pathLst>
                <a:path w="421302" h="436491">
                  <a:moveTo>
                    <a:pt x="344221" y="436491"/>
                  </a:moveTo>
                  <a:cubicBezTo>
                    <a:pt x="344245" y="436426"/>
                    <a:pt x="422592" y="224913"/>
                    <a:pt x="421286" y="224913"/>
                  </a:cubicBezTo>
                  <a:cubicBezTo>
                    <a:pt x="420633" y="225845"/>
                    <a:pt x="355323" y="261263"/>
                    <a:pt x="353364" y="261263"/>
                  </a:cubicBezTo>
                  <a:cubicBezTo>
                    <a:pt x="275616" y="124301"/>
                    <a:pt x="189333" y="39652"/>
                    <a:pt x="71393" y="0"/>
                  </a:cubicBezTo>
                  <a:lnTo>
                    <a:pt x="0" y="18646"/>
                  </a:lnTo>
                  <a:cubicBezTo>
                    <a:pt x="102648" y="66525"/>
                    <a:pt x="178731" y="158832"/>
                    <a:pt x="243644" y="306934"/>
                  </a:cubicBezTo>
                  <a:cubicBezTo>
                    <a:pt x="246256" y="309731"/>
                    <a:pt x="155476" y="322780"/>
                    <a:pt x="150904" y="326508"/>
                  </a:cubicBezTo>
                  <a:cubicBezTo>
                    <a:pt x="256706" y="379635"/>
                    <a:pt x="344221" y="436491"/>
                    <a:pt x="344221" y="436491"/>
                  </a:cubicBezTo>
                  <a:close/>
                </a:path>
              </a:pathLst>
            </a:custGeom>
            <a:solidFill>
              <a:schemeClr val="bg2"/>
            </a:solidFill>
            <a:ln w="9525" cap="rnd">
              <a:noFill/>
              <a:prstDash val="solid"/>
              <a:round/>
              <a:headEnd/>
              <a:tailEnd/>
            </a:ln>
          </p:spPr>
          <p:txBody>
            <a:bodyPr lIns="91412" tIns="45706" rIns="91412" bIns="45706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 dirty="0">
                <a:latin typeface="+mn-lt"/>
              </a:endParaRPr>
            </a:p>
          </p:txBody>
        </p:sp>
        <p:sp>
          <p:nvSpPr>
            <p:cNvPr id="30" name="AutoShap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 rot="16200000">
              <a:off x="6168684" y="3662780"/>
              <a:ext cx="1075759" cy="775738"/>
            </a:xfrm>
            <a:prstGeom prst="chevron">
              <a:avLst>
                <a:gd name="adj" fmla="val 28868"/>
              </a:avLst>
            </a:prstGeom>
            <a:ln w="28575">
              <a:solidFill>
                <a:schemeClr val="bg2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lIns="91412" tIns="71978" rIns="91412" bIns="71978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6393119" y="3896308"/>
              <a:ext cx="661678" cy="4492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/>
            <a:lstStyle/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defRPr/>
              </a:pPr>
              <a:r>
                <a:rPr lang="ru-RU" sz="2000" b="1" dirty="0" smtClean="0">
                  <a:solidFill>
                    <a:schemeClr val="bg2"/>
                  </a:solidFill>
                  <a:cs typeface="Arial" pitchFamily="34" charset="0"/>
                </a:rPr>
                <a:t>+</a:t>
              </a:r>
              <a:r>
                <a:rPr lang="en-US" sz="2000" b="1" dirty="0" smtClean="0">
                  <a:solidFill>
                    <a:schemeClr val="bg2"/>
                  </a:solidFill>
                  <a:cs typeface="Arial" pitchFamily="34" charset="0"/>
                </a:rPr>
                <a:t>25</a:t>
              </a:r>
              <a:r>
                <a:rPr lang="ru-RU" sz="2000" b="1" dirty="0" smtClean="0">
                  <a:solidFill>
                    <a:schemeClr val="bg2"/>
                  </a:solidFill>
                  <a:cs typeface="Arial" pitchFamily="34" charset="0"/>
                </a:rPr>
                <a:t>%</a:t>
              </a:r>
              <a:endParaRPr lang="uk-UA" sz="2000" b="1" dirty="0" err="1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32" name="Freeform 3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 rot="6925393">
              <a:off x="5150372" y="3578612"/>
              <a:ext cx="520898" cy="1354079"/>
            </a:xfrm>
            <a:custGeom>
              <a:avLst/>
              <a:gdLst/>
              <a:ahLst/>
              <a:cxnLst/>
              <a:rect l="l" t="t" r="r" b="b"/>
              <a:pathLst>
                <a:path w="421302" h="436491">
                  <a:moveTo>
                    <a:pt x="344221" y="436491"/>
                  </a:moveTo>
                  <a:cubicBezTo>
                    <a:pt x="344245" y="436426"/>
                    <a:pt x="422592" y="224913"/>
                    <a:pt x="421286" y="224913"/>
                  </a:cubicBezTo>
                  <a:cubicBezTo>
                    <a:pt x="420633" y="225845"/>
                    <a:pt x="355323" y="261263"/>
                    <a:pt x="353364" y="261263"/>
                  </a:cubicBezTo>
                  <a:cubicBezTo>
                    <a:pt x="275616" y="124301"/>
                    <a:pt x="189333" y="39652"/>
                    <a:pt x="71393" y="0"/>
                  </a:cubicBezTo>
                  <a:lnTo>
                    <a:pt x="0" y="18646"/>
                  </a:lnTo>
                  <a:cubicBezTo>
                    <a:pt x="102648" y="66525"/>
                    <a:pt x="178731" y="158832"/>
                    <a:pt x="243644" y="306934"/>
                  </a:cubicBezTo>
                  <a:cubicBezTo>
                    <a:pt x="246256" y="309731"/>
                    <a:pt x="155476" y="322780"/>
                    <a:pt x="150904" y="326508"/>
                  </a:cubicBezTo>
                  <a:cubicBezTo>
                    <a:pt x="256706" y="379635"/>
                    <a:pt x="344221" y="436491"/>
                    <a:pt x="344221" y="436491"/>
                  </a:cubicBezTo>
                  <a:close/>
                </a:path>
              </a:pathLst>
            </a:custGeom>
            <a:solidFill>
              <a:schemeClr val="bg2"/>
            </a:solidFill>
            <a:ln w="9525" cap="rnd">
              <a:noFill/>
              <a:prstDash val="solid"/>
              <a:round/>
              <a:headEnd/>
              <a:tailEnd/>
            </a:ln>
          </p:spPr>
          <p:txBody>
            <a:bodyPr lIns="91412" tIns="45706" rIns="91412" bIns="45706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 dirty="0">
                <a:latin typeface="+mn-lt"/>
              </a:endParaRPr>
            </a:p>
          </p:txBody>
        </p:sp>
        <p:sp>
          <p:nvSpPr>
            <p:cNvPr id="4" name="TextBox 3"/>
            <p:cNvSpPr txBox="1">
              <a:spLocks noChangeArrowheads="1"/>
            </p:cNvSpPr>
            <p:nvPr/>
          </p:nvSpPr>
          <p:spPr bwMode="auto">
            <a:xfrm>
              <a:off x="7366356" y="4268208"/>
              <a:ext cx="1562100" cy="387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ts val="300"/>
                </a:spcBef>
              </a:pPr>
              <a:r>
                <a:rPr lang="ru-RU" altLang="uk-UA" sz="1200" dirty="0">
                  <a:cs typeface="Arial" pitchFamily="34" charset="0"/>
                </a:rPr>
                <a:t>За период </a:t>
              </a:r>
              <a:r>
                <a:rPr lang="ru-RU" altLang="uk-UA" sz="1200" dirty="0" smtClean="0">
                  <a:cs typeface="Arial" pitchFamily="34" charset="0"/>
                </a:rPr>
                <a:t>январь-март 2017</a:t>
              </a:r>
              <a:endParaRPr lang="uk-UA" altLang="uk-UA" sz="1200" dirty="0">
                <a:cs typeface="Arial" pitchFamily="34" charset="0"/>
              </a:endParaRPr>
            </a:p>
          </p:txBody>
        </p:sp>
        <p:sp>
          <p:nvSpPr>
            <p:cNvPr id="34" name="Oval 33"/>
            <p:cNvSpPr/>
            <p:nvPr/>
          </p:nvSpPr>
          <p:spPr bwMode="gray">
            <a:xfrm>
              <a:off x="1577799" y="4014651"/>
              <a:ext cx="619125" cy="617919"/>
            </a:xfrm>
            <a:prstGeom prst="ellipse">
              <a:avLst/>
            </a:prstGeom>
            <a:ln w="12700">
              <a:solidFill>
                <a:schemeClr val="accent4"/>
              </a:solidFill>
              <a:prstDash val="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12" tIns="45706" rIns="91412" bIns="45706" anchor="ctr"/>
            <a:lstStyle/>
            <a:p>
              <a:pPr algn="ctr" eaLnBrk="1" fontAlgn="auto" hangingPunct="1">
                <a:spcBef>
                  <a:spcPts val="300"/>
                </a:spcBef>
                <a:spcAft>
                  <a:spcPts val="0"/>
                </a:spcAft>
                <a:defRPr/>
              </a:pPr>
              <a:endParaRPr lang="uk-UA" sz="1600" dirty="0" err="1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625424" y="4183509"/>
              <a:ext cx="571500" cy="298450"/>
            </a:xfrm>
            <a:prstGeom prst="rect">
              <a:avLst/>
            </a:prstGeom>
            <a:noFill/>
          </p:spPr>
          <p:txBody>
            <a:bodyPr lIns="0" tIns="0" rIns="0" bIns="0"/>
            <a:lstStyle/>
            <a:p>
              <a:pPr algn="ctr" eaLnBrk="1" fontAlgn="auto" hangingPunct="1">
                <a:spcBef>
                  <a:spcPts val="300"/>
                </a:spcBef>
                <a:spcAft>
                  <a:spcPts val="0"/>
                </a:spcAft>
                <a:defRPr/>
              </a:pPr>
              <a:r>
                <a:rPr lang="en-US" sz="1799" b="1" dirty="0" smtClean="0">
                  <a:solidFill>
                    <a:schemeClr val="accent4"/>
                  </a:solidFill>
                  <a:cs typeface="Arial" pitchFamily="34" charset="0"/>
                </a:rPr>
                <a:t>27</a:t>
              </a:r>
              <a:r>
                <a:rPr lang="en-GB" sz="1799" b="1" dirty="0" smtClean="0">
                  <a:solidFill>
                    <a:schemeClr val="accent4"/>
                  </a:solidFill>
                  <a:cs typeface="Arial" pitchFamily="34" charset="0"/>
                </a:rPr>
                <a:t>%</a:t>
              </a:r>
              <a:endParaRPr lang="ru-RU" sz="1799" b="1" dirty="0" err="1">
                <a:solidFill>
                  <a:schemeClr val="accent4"/>
                </a:solidFill>
                <a:cs typeface="Arial" pitchFamily="34" charset="0"/>
              </a:endParaRPr>
            </a:p>
          </p:txBody>
        </p:sp>
        <p:sp>
          <p:nvSpPr>
            <p:cNvPr id="37" name="Freeform 30"/>
            <p:cNvSpPr>
              <a:spLocks noChangeAspect="1"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619104" y="3464892"/>
              <a:ext cx="375859" cy="381883"/>
            </a:xfrm>
            <a:custGeom>
              <a:avLst/>
              <a:gdLst>
                <a:gd name="T0" fmla="*/ 2147483647 w 2080"/>
                <a:gd name="T1" fmla="*/ 2147483647 h 2113"/>
                <a:gd name="T2" fmla="*/ 2147483647 w 2080"/>
                <a:gd name="T3" fmla="*/ 2147483647 h 2113"/>
                <a:gd name="T4" fmla="*/ 2147483647 w 2080"/>
                <a:gd name="T5" fmla="*/ 2147483647 h 2113"/>
                <a:gd name="T6" fmla="*/ 2147483647 w 2080"/>
                <a:gd name="T7" fmla="*/ 2147483647 h 2113"/>
                <a:gd name="T8" fmla="*/ 2147483647 w 2080"/>
                <a:gd name="T9" fmla="*/ 0 h 2113"/>
                <a:gd name="T10" fmla="*/ 2147483647 w 2080"/>
                <a:gd name="T11" fmla="*/ 2147483647 h 2113"/>
                <a:gd name="T12" fmla="*/ 2147483647 w 2080"/>
                <a:gd name="T13" fmla="*/ 2147483647 h 2113"/>
                <a:gd name="T14" fmla="*/ 2147483647 w 2080"/>
                <a:gd name="T15" fmla="*/ 2147483647 h 2113"/>
                <a:gd name="T16" fmla="*/ 2147483647 w 2080"/>
                <a:gd name="T17" fmla="*/ 2147483647 h 2113"/>
                <a:gd name="T18" fmla="*/ 2147483647 w 2080"/>
                <a:gd name="T19" fmla="*/ 2147483647 h 2113"/>
                <a:gd name="T20" fmla="*/ 2147483647 w 2080"/>
                <a:gd name="T21" fmla="*/ 2147483647 h 2113"/>
                <a:gd name="T22" fmla="*/ 0 w 2080"/>
                <a:gd name="T23" fmla="*/ 2147483647 h 2113"/>
                <a:gd name="T24" fmla="*/ 2147483647 w 2080"/>
                <a:gd name="T25" fmla="*/ 2147483647 h 2113"/>
                <a:gd name="T26" fmla="*/ 2147483647 w 2080"/>
                <a:gd name="T27" fmla="*/ 2147483647 h 2113"/>
                <a:gd name="T28" fmla="*/ 2147483647 w 2080"/>
                <a:gd name="T29" fmla="*/ 2147483647 h 2113"/>
                <a:gd name="T30" fmla="*/ 2147483647 w 2080"/>
                <a:gd name="T31" fmla="*/ 2147483647 h 2113"/>
                <a:gd name="T32" fmla="*/ 2147483647 w 2080"/>
                <a:gd name="T33" fmla="*/ 2147483647 h 2113"/>
                <a:gd name="T34" fmla="*/ 2147483647 w 2080"/>
                <a:gd name="T35" fmla="*/ 2147483647 h 2113"/>
                <a:gd name="T36" fmla="*/ 2147483647 w 2080"/>
                <a:gd name="T37" fmla="*/ 2147483647 h 2113"/>
                <a:gd name="T38" fmla="*/ 2147483647 w 2080"/>
                <a:gd name="T39" fmla="*/ 2147483647 h 2113"/>
                <a:gd name="T40" fmla="*/ 2147483647 w 2080"/>
                <a:gd name="T41" fmla="*/ 2147483647 h 2113"/>
                <a:gd name="T42" fmla="*/ 2147483647 w 2080"/>
                <a:gd name="T43" fmla="*/ 2147483647 h 2113"/>
                <a:gd name="T44" fmla="*/ 2147483647 w 2080"/>
                <a:gd name="T45" fmla="*/ 2147483647 h 2113"/>
                <a:gd name="T46" fmla="*/ 2147483647 w 2080"/>
                <a:gd name="T47" fmla="*/ 2147483647 h 2113"/>
                <a:gd name="T48" fmla="*/ 2147483647 w 2080"/>
                <a:gd name="T49" fmla="*/ 2147483647 h 2113"/>
                <a:gd name="T50" fmla="*/ 2147483647 w 2080"/>
                <a:gd name="T51" fmla="*/ 2147483647 h 2113"/>
                <a:gd name="T52" fmla="*/ 2147483647 w 2080"/>
                <a:gd name="T53" fmla="*/ 2147483647 h 2113"/>
                <a:gd name="T54" fmla="*/ 2147483647 w 2080"/>
                <a:gd name="T55" fmla="*/ 2147483647 h 2113"/>
                <a:gd name="T56" fmla="*/ 2147483647 w 2080"/>
                <a:gd name="T57" fmla="*/ 2147483647 h 2113"/>
                <a:gd name="T58" fmla="*/ 2147483647 w 2080"/>
                <a:gd name="T59" fmla="*/ 2147483647 h 2113"/>
                <a:gd name="T60" fmla="*/ 2147483647 w 2080"/>
                <a:gd name="T61" fmla="*/ 2147483647 h 2113"/>
                <a:gd name="T62" fmla="*/ 2147483647 w 2080"/>
                <a:gd name="T63" fmla="*/ 2147483647 h 2113"/>
                <a:gd name="T64" fmla="*/ 2147483647 w 2080"/>
                <a:gd name="T65" fmla="*/ 2147483647 h 211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080" h="2113">
                  <a:moveTo>
                    <a:pt x="1760" y="1633"/>
                  </a:moveTo>
                  <a:cubicBezTo>
                    <a:pt x="1716" y="1633"/>
                    <a:pt x="1680" y="1669"/>
                    <a:pt x="1680" y="1713"/>
                  </a:cubicBezTo>
                  <a:cubicBezTo>
                    <a:pt x="1680" y="1757"/>
                    <a:pt x="1716" y="1793"/>
                    <a:pt x="1760" y="1793"/>
                  </a:cubicBezTo>
                  <a:cubicBezTo>
                    <a:pt x="1804" y="1793"/>
                    <a:pt x="1840" y="1757"/>
                    <a:pt x="1840" y="1713"/>
                  </a:cubicBezTo>
                  <a:cubicBezTo>
                    <a:pt x="1840" y="1669"/>
                    <a:pt x="1804" y="1633"/>
                    <a:pt x="1760" y="1633"/>
                  </a:cubicBezTo>
                  <a:close/>
                  <a:moveTo>
                    <a:pt x="388" y="5"/>
                  </a:moveTo>
                  <a:cubicBezTo>
                    <a:pt x="810" y="426"/>
                    <a:pt x="810" y="426"/>
                    <a:pt x="810" y="426"/>
                  </a:cubicBezTo>
                  <a:cubicBezTo>
                    <a:pt x="841" y="405"/>
                    <a:pt x="879" y="393"/>
                    <a:pt x="920" y="393"/>
                  </a:cubicBezTo>
                  <a:cubicBezTo>
                    <a:pt x="975" y="393"/>
                    <a:pt x="1025" y="415"/>
                    <a:pt x="1061" y="451"/>
                  </a:cubicBezTo>
                  <a:cubicBezTo>
                    <a:pt x="1738" y="0"/>
                    <a:pt x="1738" y="0"/>
                    <a:pt x="1738" y="0"/>
                  </a:cubicBezTo>
                  <a:cubicBezTo>
                    <a:pt x="1782" y="66"/>
                    <a:pt x="1782" y="66"/>
                    <a:pt x="1782" y="66"/>
                  </a:cubicBezTo>
                  <a:cubicBezTo>
                    <a:pt x="1105" y="517"/>
                    <a:pt x="1105" y="517"/>
                    <a:pt x="1105" y="517"/>
                  </a:cubicBezTo>
                  <a:cubicBezTo>
                    <a:pt x="1110" y="529"/>
                    <a:pt x="1114" y="541"/>
                    <a:pt x="1116" y="553"/>
                  </a:cubicBezTo>
                  <a:cubicBezTo>
                    <a:pt x="2080" y="553"/>
                    <a:pt x="2080" y="553"/>
                    <a:pt x="2080" y="553"/>
                  </a:cubicBezTo>
                  <a:cubicBezTo>
                    <a:pt x="2080" y="2033"/>
                    <a:pt x="2080" y="2033"/>
                    <a:pt x="2080" y="2033"/>
                  </a:cubicBezTo>
                  <a:cubicBezTo>
                    <a:pt x="1920" y="2033"/>
                    <a:pt x="1920" y="2033"/>
                    <a:pt x="1920" y="2033"/>
                  </a:cubicBezTo>
                  <a:cubicBezTo>
                    <a:pt x="1920" y="2113"/>
                    <a:pt x="1920" y="2113"/>
                    <a:pt x="1920" y="2113"/>
                  </a:cubicBezTo>
                  <a:cubicBezTo>
                    <a:pt x="1813" y="2113"/>
                    <a:pt x="1707" y="2113"/>
                    <a:pt x="1600" y="2113"/>
                  </a:cubicBezTo>
                  <a:cubicBezTo>
                    <a:pt x="1600" y="2033"/>
                    <a:pt x="1600" y="2033"/>
                    <a:pt x="1600" y="2033"/>
                  </a:cubicBezTo>
                  <a:cubicBezTo>
                    <a:pt x="480" y="2033"/>
                    <a:pt x="480" y="2033"/>
                    <a:pt x="480" y="2033"/>
                  </a:cubicBezTo>
                  <a:cubicBezTo>
                    <a:pt x="480" y="2113"/>
                    <a:pt x="480" y="2113"/>
                    <a:pt x="480" y="2113"/>
                  </a:cubicBezTo>
                  <a:cubicBezTo>
                    <a:pt x="160" y="2113"/>
                    <a:pt x="160" y="2113"/>
                    <a:pt x="160" y="2113"/>
                  </a:cubicBezTo>
                  <a:cubicBezTo>
                    <a:pt x="160" y="2033"/>
                    <a:pt x="160" y="2033"/>
                    <a:pt x="160" y="2033"/>
                  </a:cubicBezTo>
                  <a:cubicBezTo>
                    <a:pt x="0" y="2033"/>
                    <a:pt x="0" y="2033"/>
                    <a:pt x="0" y="2033"/>
                  </a:cubicBezTo>
                  <a:cubicBezTo>
                    <a:pt x="0" y="553"/>
                    <a:pt x="0" y="553"/>
                    <a:pt x="0" y="553"/>
                  </a:cubicBezTo>
                  <a:cubicBezTo>
                    <a:pt x="724" y="553"/>
                    <a:pt x="724" y="553"/>
                    <a:pt x="724" y="553"/>
                  </a:cubicBezTo>
                  <a:cubicBezTo>
                    <a:pt x="729" y="527"/>
                    <a:pt x="739" y="504"/>
                    <a:pt x="753" y="483"/>
                  </a:cubicBezTo>
                  <a:cubicBezTo>
                    <a:pt x="332" y="61"/>
                    <a:pt x="332" y="61"/>
                    <a:pt x="332" y="61"/>
                  </a:cubicBezTo>
                  <a:lnTo>
                    <a:pt x="388" y="5"/>
                  </a:lnTo>
                  <a:close/>
                  <a:moveTo>
                    <a:pt x="1760" y="1393"/>
                  </a:moveTo>
                  <a:cubicBezTo>
                    <a:pt x="1716" y="1393"/>
                    <a:pt x="1680" y="1429"/>
                    <a:pt x="1680" y="1473"/>
                  </a:cubicBezTo>
                  <a:cubicBezTo>
                    <a:pt x="1680" y="1517"/>
                    <a:pt x="1716" y="1553"/>
                    <a:pt x="1760" y="1553"/>
                  </a:cubicBezTo>
                  <a:cubicBezTo>
                    <a:pt x="1804" y="1553"/>
                    <a:pt x="1840" y="1517"/>
                    <a:pt x="1840" y="1473"/>
                  </a:cubicBezTo>
                  <a:cubicBezTo>
                    <a:pt x="1840" y="1429"/>
                    <a:pt x="1804" y="1393"/>
                    <a:pt x="1760" y="1393"/>
                  </a:cubicBezTo>
                  <a:close/>
                  <a:moveTo>
                    <a:pt x="1600" y="1153"/>
                  </a:moveTo>
                  <a:cubicBezTo>
                    <a:pt x="1600" y="1233"/>
                    <a:pt x="1600" y="1233"/>
                    <a:pt x="1600" y="1233"/>
                  </a:cubicBezTo>
                  <a:cubicBezTo>
                    <a:pt x="1920" y="1233"/>
                    <a:pt x="1920" y="1233"/>
                    <a:pt x="1920" y="1233"/>
                  </a:cubicBezTo>
                  <a:cubicBezTo>
                    <a:pt x="1920" y="1153"/>
                    <a:pt x="1920" y="1153"/>
                    <a:pt x="1920" y="1153"/>
                  </a:cubicBezTo>
                  <a:lnTo>
                    <a:pt x="1600" y="1153"/>
                  </a:lnTo>
                  <a:close/>
                  <a:moveTo>
                    <a:pt x="1600" y="993"/>
                  </a:moveTo>
                  <a:cubicBezTo>
                    <a:pt x="1600" y="1073"/>
                    <a:pt x="1600" y="1073"/>
                    <a:pt x="1600" y="1073"/>
                  </a:cubicBezTo>
                  <a:cubicBezTo>
                    <a:pt x="1920" y="1073"/>
                    <a:pt x="1920" y="1073"/>
                    <a:pt x="1920" y="1073"/>
                  </a:cubicBezTo>
                  <a:cubicBezTo>
                    <a:pt x="1920" y="993"/>
                    <a:pt x="1920" y="993"/>
                    <a:pt x="1920" y="993"/>
                  </a:cubicBezTo>
                  <a:lnTo>
                    <a:pt x="1600" y="993"/>
                  </a:lnTo>
                  <a:close/>
                  <a:moveTo>
                    <a:pt x="1600" y="833"/>
                  </a:moveTo>
                  <a:cubicBezTo>
                    <a:pt x="1600" y="913"/>
                    <a:pt x="1600" y="913"/>
                    <a:pt x="1600" y="913"/>
                  </a:cubicBezTo>
                  <a:cubicBezTo>
                    <a:pt x="1920" y="913"/>
                    <a:pt x="1920" y="913"/>
                    <a:pt x="1920" y="913"/>
                  </a:cubicBezTo>
                  <a:cubicBezTo>
                    <a:pt x="1920" y="833"/>
                    <a:pt x="1920" y="833"/>
                    <a:pt x="1920" y="833"/>
                  </a:cubicBezTo>
                  <a:lnTo>
                    <a:pt x="1600" y="833"/>
                  </a:lnTo>
                  <a:close/>
                  <a:moveTo>
                    <a:pt x="400" y="713"/>
                  </a:moveTo>
                  <a:cubicBezTo>
                    <a:pt x="268" y="713"/>
                    <a:pt x="160" y="821"/>
                    <a:pt x="160" y="953"/>
                  </a:cubicBezTo>
                  <a:cubicBezTo>
                    <a:pt x="160" y="1633"/>
                    <a:pt x="160" y="1633"/>
                    <a:pt x="160" y="1633"/>
                  </a:cubicBezTo>
                  <a:cubicBezTo>
                    <a:pt x="160" y="1765"/>
                    <a:pt x="268" y="1873"/>
                    <a:pt x="400" y="1873"/>
                  </a:cubicBezTo>
                  <a:cubicBezTo>
                    <a:pt x="1280" y="1873"/>
                    <a:pt x="1280" y="1873"/>
                    <a:pt x="1280" y="1873"/>
                  </a:cubicBezTo>
                  <a:cubicBezTo>
                    <a:pt x="1412" y="1873"/>
                    <a:pt x="1520" y="1765"/>
                    <a:pt x="1520" y="1633"/>
                  </a:cubicBezTo>
                  <a:cubicBezTo>
                    <a:pt x="1520" y="953"/>
                    <a:pt x="1520" y="953"/>
                    <a:pt x="1520" y="953"/>
                  </a:cubicBezTo>
                  <a:cubicBezTo>
                    <a:pt x="1520" y="821"/>
                    <a:pt x="1412" y="713"/>
                    <a:pt x="1280" y="713"/>
                  </a:cubicBezTo>
                  <a:lnTo>
                    <a:pt x="400" y="713"/>
                  </a:lnTo>
                  <a:close/>
                  <a:moveTo>
                    <a:pt x="1280" y="793"/>
                  </a:moveTo>
                  <a:cubicBezTo>
                    <a:pt x="1368" y="793"/>
                    <a:pt x="1440" y="865"/>
                    <a:pt x="1440" y="953"/>
                  </a:cubicBezTo>
                  <a:cubicBezTo>
                    <a:pt x="1440" y="1633"/>
                    <a:pt x="1440" y="1633"/>
                    <a:pt x="1440" y="1633"/>
                  </a:cubicBezTo>
                  <a:cubicBezTo>
                    <a:pt x="1440" y="1721"/>
                    <a:pt x="1368" y="1793"/>
                    <a:pt x="1280" y="1793"/>
                  </a:cubicBezTo>
                  <a:cubicBezTo>
                    <a:pt x="400" y="1793"/>
                    <a:pt x="400" y="1793"/>
                    <a:pt x="400" y="1793"/>
                  </a:cubicBezTo>
                  <a:cubicBezTo>
                    <a:pt x="312" y="1793"/>
                    <a:pt x="240" y="1721"/>
                    <a:pt x="240" y="1633"/>
                  </a:cubicBezTo>
                  <a:cubicBezTo>
                    <a:pt x="240" y="953"/>
                    <a:pt x="240" y="953"/>
                    <a:pt x="240" y="953"/>
                  </a:cubicBezTo>
                  <a:cubicBezTo>
                    <a:pt x="240" y="865"/>
                    <a:pt x="312" y="793"/>
                    <a:pt x="400" y="793"/>
                  </a:cubicBezTo>
                  <a:lnTo>
                    <a:pt x="1280" y="79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lIns="91384" tIns="45692" rIns="91384" bIns="45692"/>
            <a:lstStyle/>
            <a:p>
              <a:endParaRPr lang="en-US"/>
            </a:p>
          </p:txBody>
        </p:sp>
        <p:sp>
          <p:nvSpPr>
            <p:cNvPr id="38" name="Freeform 75"/>
            <p:cNvSpPr>
              <a:spLocks noChangeAspect="1"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1605899" y="3699679"/>
              <a:ext cx="445886" cy="365586"/>
            </a:xfrm>
            <a:custGeom>
              <a:avLst/>
              <a:gdLst>
                <a:gd name="T0" fmla="*/ 2147483647 w 2187"/>
                <a:gd name="T1" fmla="*/ 2147483647 h 1565"/>
                <a:gd name="T2" fmla="*/ 2147483647 w 2187"/>
                <a:gd name="T3" fmla="*/ 2147483647 h 1565"/>
                <a:gd name="T4" fmla="*/ 2147483647 w 2187"/>
                <a:gd name="T5" fmla="*/ 2147483647 h 1565"/>
                <a:gd name="T6" fmla="*/ 2147483647 w 2187"/>
                <a:gd name="T7" fmla="*/ 2147483647 h 1565"/>
                <a:gd name="T8" fmla="*/ 2147483647 w 2187"/>
                <a:gd name="T9" fmla="*/ 2147483647 h 1565"/>
                <a:gd name="T10" fmla="*/ 2147483647 w 2187"/>
                <a:gd name="T11" fmla="*/ 2147483647 h 1565"/>
                <a:gd name="T12" fmla="*/ 2147483647 w 2187"/>
                <a:gd name="T13" fmla="*/ 2147483647 h 1565"/>
                <a:gd name="T14" fmla="*/ 2147483647 w 2187"/>
                <a:gd name="T15" fmla="*/ 2147483647 h 1565"/>
                <a:gd name="T16" fmla="*/ 2147483647 w 2187"/>
                <a:gd name="T17" fmla="*/ 2147483647 h 1565"/>
                <a:gd name="T18" fmla="*/ 2147483647 w 2187"/>
                <a:gd name="T19" fmla="*/ 2147483647 h 1565"/>
                <a:gd name="T20" fmla="*/ 2147483647 w 2187"/>
                <a:gd name="T21" fmla="*/ 2147483647 h 1565"/>
                <a:gd name="T22" fmla="*/ 2147483647 w 2187"/>
                <a:gd name="T23" fmla="*/ 2147483647 h 1565"/>
                <a:gd name="T24" fmla="*/ 2147483647 w 2187"/>
                <a:gd name="T25" fmla="*/ 2147483647 h 1565"/>
                <a:gd name="T26" fmla="*/ 0 w 2187"/>
                <a:gd name="T27" fmla="*/ 2147483647 h 1565"/>
                <a:gd name="T28" fmla="*/ 2147483647 w 2187"/>
                <a:gd name="T29" fmla="*/ 2147483647 h 1565"/>
                <a:gd name="T30" fmla="*/ 2147483647 w 2187"/>
                <a:gd name="T31" fmla="*/ 2147483647 h 1565"/>
                <a:gd name="T32" fmla="*/ 2147483647 w 2187"/>
                <a:gd name="T33" fmla="*/ 2147483647 h 1565"/>
                <a:gd name="T34" fmla="*/ 2147483647 w 2187"/>
                <a:gd name="T35" fmla="*/ 2147483647 h 1565"/>
                <a:gd name="T36" fmla="*/ 2147483647 w 2187"/>
                <a:gd name="T37" fmla="*/ 2147483647 h 1565"/>
                <a:gd name="T38" fmla="*/ 2147483647 w 2187"/>
                <a:gd name="T39" fmla="*/ 2147483647 h 1565"/>
                <a:gd name="T40" fmla="*/ 2147483647 w 2187"/>
                <a:gd name="T41" fmla="*/ 2147483647 h 1565"/>
                <a:gd name="T42" fmla="*/ 2147483647 w 2187"/>
                <a:gd name="T43" fmla="*/ 2147483647 h 1565"/>
                <a:gd name="T44" fmla="*/ 2147483647 w 2187"/>
                <a:gd name="T45" fmla="*/ 2147483647 h 1565"/>
                <a:gd name="T46" fmla="*/ 2147483647 w 2187"/>
                <a:gd name="T47" fmla="*/ 2147483647 h 1565"/>
                <a:gd name="T48" fmla="*/ 0 w 2187"/>
                <a:gd name="T49" fmla="*/ 2147483647 h 1565"/>
                <a:gd name="T50" fmla="*/ 0 w 2187"/>
                <a:gd name="T51" fmla="*/ 2147483647 h 1565"/>
                <a:gd name="T52" fmla="*/ 0 w 2187"/>
                <a:gd name="T53" fmla="*/ 2147483647 h 1565"/>
                <a:gd name="T54" fmla="*/ 2147483647 w 2187"/>
                <a:gd name="T55" fmla="*/ 2147483647 h 1565"/>
                <a:gd name="T56" fmla="*/ 2147483647 w 2187"/>
                <a:gd name="T57" fmla="*/ 2147483647 h 1565"/>
                <a:gd name="T58" fmla="*/ 2147483647 w 2187"/>
                <a:gd name="T59" fmla="*/ 2147483647 h 1565"/>
                <a:gd name="T60" fmla="*/ 2147483647 w 2187"/>
                <a:gd name="T61" fmla="*/ 2147483647 h 1565"/>
                <a:gd name="T62" fmla="*/ 2147483647 w 2187"/>
                <a:gd name="T63" fmla="*/ 2147483647 h 1565"/>
                <a:gd name="T64" fmla="*/ 2147483647 w 2187"/>
                <a:gd name="T65" fmla="*/ 2147483647 h 1565"/>
                <a:gd name="T66" fmla="*/ 2147483647 w 2187"/>
                <a:gd name="T67" fmla="*/ 2147483647 h 1565"/>
                <a:gd name="T68" fmla="*/ 2147483647 w 2187"/>
                <a:gd name="T69" fmla="*/ 2147483647 h 1565"/>
                <a:gd name="T70" fmla="*/ 2147483647 w 2187"/>
                <a:gd name="T71" fmla="*/ 2147483647 h 1565"/>
                <a:gd name="T72" fmla="*/ 2147483647 w 2187"/>
                <a:gd name="T73" fmla="*/ 2147483647 h 1565"/>
                <a:gd name="T74" fmla="*/ 0 w 2187"/>
                <a:gd name="T75" fmla="*/ 2147483647 h 1565"/>
                <a:gd name="T76" fmla="*/ 0 w 2187"/>
                <a:gd name="T77" fmla="*/ 2147483647 h 1565"/>
                <a:gd name="T78" fmla="*/ 0 w 2187"/>
                <a:gd name="T79" fmla="*/ 2147483647 h 1565"/>
                <a:gd name="T80" fmla="*/ 2147483647 w 2187"/>
                <a:gd name="T81" fmla="*/ 2147483647 h 1565"/>
                <a:gd name="T82" fmla="*/ 2147483647 w 2187"/>
                <a:gd name="T83" fmla="*/ 2147483647 h 1565"/>
                <a:gd name="T84" fmla="*/ 2147483647 w 2187"/>
                <a:gd name="T85" fmla="*/ 2147483647 h 1565"/>
                <a:gd name="T86" fmla="*/ 2147483647 w 2187"/>
                <a:gd name="T87" fmla="*/ 2147483647 h 1565"/>
                <a:gd name="T88" fmla="*/ 2147483647 w 2187"/>
                <a:gd name="T89" fmla="*/ 2147483647 h 1565"/>
                <a:gd name="T90" fmla="*/ 2147483647 w 2187"/>
                <a:gd name="T91" fmla="*/ 2147483647 h 1565"/>
                <a:gd name="T92" fmla="*/ 2147483647 w 2187"/>
                <a:gd name="T93" fmla="*/ 2147483647 h 1565"/>
                <a:gd name="T94" fmla="*/ 2147483647 w 2187"/>
                <a:gd name="T95" fmla="*/ 2147483647 h 1565"/>
                <a:gd name="T96" fmla="*/ 2147483647 w 2187"/>
                <a:gd name="T97" fmla="*/ 2147483647 h 1565"/>
                <a:gd name="T98" fmla="*/ 2147483647 w 2187"/>
                <a:gd name="T99" fmla="*/ 2147483647 h 1565"/>
                <a:gd name="T100" fmla="*/ 0 w 2187"/>
                <a:gd name="T101" fmla="*/ 2147483647 h 1565"/>
                <a:gd name="T102" fmla="*/ 0 w 2187"/>
                <a:gd name="T103" fmla="*/ 2147483647 h 156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187" h="1565">
                  <a:moveTo>
                    <a:pt x="2121" y="628"/>
                  </a:moveTo>
                  <a:cubicBezTo>
                    <a:pt x="2080" y="692"/>
                    <a:pt x="2021" y="743"/>
                    <a:pt x="1952" y="775"/>
                  </a:cubicBezTo>
                  <a:cubicBezTo>
                    <a:pt x="1934" y="784"/>
                    <a:pt x="1922" y="795"/>
                    <a:pt x="1914" y="813"/>
                  </a:cubicBezTo>
                  <a:cubicBezTo>
                    <a:pt x="1686" y="1335"/>
                    <a:pt x="1686" y="1335"/>
                    <a:pt x="1686" y="1335"/>
                  </a:cubicBezTo>
                  <a:cubicBezTo>
                    <a:pt x="1616" y="1495"/>
                    <a:pt x="1441" y="1565"/>
                    <a:pt x="1279" y="1509"/>
                  </a:cubicBezTo>
                  <a:cubicBezTo>
                    <a:pt x="1192" y="1479"/>
                    <a:pt x="1108" y="1402"/>
                    <a:pt x="1151" y="1303"/>
                  </a:cubicBezTo>
                  <a:cubicBezTo>
                    <a:pt x="1378" y="785"/>
                    <a:pt x="1378" y="785"/>
                    <a:pt x="1378" y="785"/>
                  </a:cubicBezTo>
                  <a:cubicBezTo>
                    <a:pt x="840" y="735"/>
                    <a:pt x="840" y="735"/>
                    <a:pt x="840" y="735"/>
                  </a:cubicBezTo>
                  <a:cubicBezTo>
                    <a:pt x="840" y="76"/>
                    <a:pt x="840" y="76"/>
                    <a:pt x="840" y="76"/>
                  </a:cubicBezTo>
                  <a:cubicBezTo>
                    <a:pt x="1724" y="9"/>
                    <a:pt x="1724" y="9"/>
                    <a:pt x="1724" y="9"/>
                  </a:cubicBezTo>
                  <a:cubicBezTo>
                    <a:pt x="1840" y="0"/>
                    <a:pt x="1956" y="33"/>
                    <a:pt x="2045" y="109"/>
                  </a:cubicBezTo>
                  <a:cubicBezTo>
                    <a:pt x="2121" y="174"/>
                    <a:pt x="2172" y="267"/>
                    <a:pt x="2180" y="379"/>
                  </a:cubicBezTo>
                  <a:cubicBezTo>
                    <a:pt x="2187" y="466"/>
                    <a:pt x="2168" y="553"/>
                    <a:pt x="2121" y="628"/>
                  </a:cubicBezTo>
                  <a:close/>
                  <a:moveTo>
                    <a:pt x="0" y="635"/>
                  </a:moveTo>
                  <a:cubicBezTo>
                    <a:pt x="9" y="638"/>
                    <a:pt x="18" y="640"/>
                    <a:pt x="27" y="640"/>
                  </a:cubicBezTo>
                  <a:cubicBezTo>
                    <a:pt x="90" y="640"/>
                    <a:pt x="164" y="553"/>
                    <a:pt x="253" y="553"/>
                  </a:cubicBezTo>
                  <a:cubicBezTo>
                    <a:pt x="342" y="553"/>
                    <a:pt x="416" y="640"/>
                    <a:pt x="480" y="640"/>
                  </a:cubicBezTo>
                  <a:cubicBezTo>
                    <a:pt x="544" y="640"/>
                    <a:pt x="618" y="553"/>
                    <a:pt x="707" y="553"/>
                  </a:cubicBezTo>
                  <a:cubicBezTo>
                    <a:pt x="725" y="553"/>
                    <a:pt x="743" y="557"/>
                    <a:pt x="760" y="562"/>
                  </a:cubicBezTo>
                  <a:cubicBezTo>
                    <a:pt x="760" y="649"/>
                    <a:pt x="760" y="649"/>
                    <a:pt x="760" y="649"/>
                  </a:cubicBezTo>
                  <a:cubicBezTo>
                    <a:pt x="741" y="640"/>
                    <a:pt x="723" y="633"/>
                    <a:pt x="707" y="633"/>
                  </a:cubicBezTo>
                  <a:cubicBezTo>
                    <a:pt x="643" y="633"/>
                    <a:pt x="569" y="720"/>
                    <a:pt x="480" y="720"/>
                  </a:cubicBezTo>
                  <a:cubicBezTo>
                    <a:pt x="391" y="720"/>
                    <a:pt x="317" y="633"/>
                    <a:pt x="253" y="633"/>
                  </a:cubicBezTo>
                  <a:cubicBezTo>
                    <a:pt x="190" y="633"/>
                    <a:pt x="116" y="720"/>
                    <a:pt x="27" y="720"/>
                  </a:cubicBezTo>
                  <a:cubicBezTo>
                    <a:pt x="18" y="720"/>
                    <a:pt x="9" y="719"/>
                    <a:pt x="0" y="717"/>
                  </a:cubicBezTo>
                  <a:lnTo>
                    <a:pt x="0" y="635"/>
                  </a:lnTo>
                  <a:close/>
                  <a:moveTo>
                    <a:pt x="0" y="435"/>
                  </a:moveTo>
                  <a:cubicBezTo>
                    <a:pt x="9" y="438"/>
                    <a:pt x="18" y="440"/>
                    <a:pt x="27" y="440"/>
                  </a:cubicBezTo>
                  <a:cubicBezTo>
                    <a:pt x="90" y="440"/>
                    <a:pt x="164" y="353"/>
                    <a:pt x="253" y="353"/>
                  </a:cubicBezTo>
                  <a:cubicBezTo>
                    <a:pt x="342" y="353"/>
                    <a:pt x="416" y="440"/>
                    <a:pt x="480" y="440"/>
                  </a:cubicBezTo>
                  <a:cubicBezTo>
                    <a:pt x="544" y="440"/>
                    <a:pt x="618" y="353"/>
                    <a:pt x="707" y="353"/>
                  </a:cubicBezTo>
                  <a:cubicBezTo>
                    <a:pt x="725" y="353"/>
                    <a:pt x="743" y="357"/>
                    <a:pt x="760" y="362"/>
                  </a:cubicBezTo>
                  <a:cubicBezTo>
                    <a:pt x="760" y="449"/>
                    <a:pt x="760" y="449"/>
                    <a:pt x="760" y="449"/>
                  </a:cubicBezTo>
                  <a:cubicBezTo>
                    <a:pt x="741" y="440"/>
                    <a:pt x="723" y="433"/>
                    <a:pt x="707" y="433"/>
                  </a:cubicBezTo>
                  <a:cubicBezTo>
                    <a:pt x="643" y="433"/>
                    <a:pt x="569" y="520"/>
                    <a:pt x="480" y="520"/>
                  </a:cubicBezTo>
                  <a:cubicBezTo>
                    <a:pt x="391" y="520"/>
                    <a:pt x="317" y="433"/>
                    <a:pt x="253" y="433"/>
                  </a:cubicBezTo>
                  <a:cubicBezTo>
                    <a:pt x="190" y="433"/>
                    <a:pt x="116" y="520"/>
                    <a:pt x="27" y="520"/>
                  </a:cubicBezTo>
                  <a:cubicBezTo>
                    <a:pt x="18" y="520"/>
                    <a:pt x="9" y="519"/>
                    <a:pt x="0" y="517"/>
                  </a:cubicBezTo>
                  <a:lnTo>
                    <a:pt x="0" y="435"/>
                  </a:lnTo>
                  <a:close/>
                  <a:moveTo>
                    <a:pt x="0" y="235"/>
                  </a:moveTo>
                  <a:cubicBezTo>
                    <a:pt x="9" y="238"/>
                    <a:pt x="18" y="240"/>
                    <a:pt x="27" y="240"/>
                  </a:cubicBezTo>
                  <a:cubicBezTo>
                    <a:pt x="90" y="240"/>
                    <a:pt x="164" y="153"/>
                    <a:pt x="253" y="153"/>
                  </a:cubicBezTo>
                  <a:cubicBezTo>
                    <a:pt x="342" y="153"/>
                    <a:pt x="416" y="240"/>
                    <a:pt x="480" y="240"/>
                  </a:cubicBezTo>
                  <a:cubicBezTo>
                    <a:pt x="544" y="240"/>
                    <a:pt x="618" y="153"/>
                    <a:pt x="707" y="153"/>
                  </a:cubicBezTo>
                  <a:cubicBezTo>
                    <a:pt x="725" y="153"/>
                    <a:pt x="743" y="157"/>
                    <a:pt x="760" y="162"/>
                  </a:cubicBezTo>
                  <a:cubicBezTo>
                    <a:pt x="760" y="249"/>
                    <a:pt x="760" y="249"/>
                    <a:pt x="760" y="249"/>
                  </a:cubicBezTo>
                  <a:cubicBezTo>
                    <a:pt x="741" y="240"/>
                    <a:pt x="723" y="233"/>
                    <a:pt x="707" y="233"/>
                  </a:cubicBezTo>
                  <a:cubicBezTo>
                    <a:pt x="643" y="233"/>
                    <a:pt x="569" y="320"/>
                    <a:pt x="480" y="320"/>
                  </a:cubicBezTo>
                  <a:cubicBezTo>
                    <a:pt x="391" y="320"/>
                    <a:pt x="317" y="233"/>
                    <a:pt x="253" y="233"/>
                  </a:cubicBezTo>
                  <a:cubicBezTo>
                    <a:pt x="190" y="233"/>
                    <a:pt x="116" y="320"/>
                    <a:pt x="27" y="320"/>
                  </a:cubicBezTo>
                  <a:cubicBezTo>
                    <a:pt x="18" y="320"/>
                    <a:pt x="9" y="319"/>
                    <a:pt x="0" y="317"/>
                  </a:cubicBezTo>
                  <a:lnTo>
                    <a:pt x="0" y="23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lIns="91384" tIns="45692" rIns="91384" bIns="45692"/>
            <a:lstStyle/>
            <a:p>
              <a:endParaRPr lang="en-US"/>
            </a:p>
          </p:txBody>
        </p:sp>
      </p:grpSp>
      <p:sp>
        <p:nvSpPr>
          <p:cNvPr id="36" name="Title 3"/>
          <p:cNvSpPr>
            <a:spLocks noGrp="1"/>
          </p:cNvSpPr>
          <p:nvPr>
            <p:ph type="title"/>
          </p:nvPr>
        </p:nvSpPr>
        <p:spPr>
          <a:xfrm>
            <a:off x="323414" y="195420"/>
            <a:ext cx="6408889" cy="576080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ru-RU" altLang="uk-UA" dirty="0"/>
              <a:t>Объем рынка техники и электроники в Украине</a:t>
            </a:r>
            <a:endParaRPr lang="en-US" altLang="uk-UA" b="1" dirty="0"/>
          </a:p>
        </p:txBody>
      </p:sp>
      <p:grpSp>
        <p:nvGrpSpPr>
          <p:cNvPr id="5" name="Group 4"/>
          <p:cNvGrpSpPr/>
          <p:nvPr/>
        </p:nvGrpSpPr>
        <p:grpSpPr>
          <a:xfrm>
            <a:off x="952729" y="987574"/>
            <a:ext cx="7147663" cy="827403"/>
            <a:chOff x="952729" y="987574"/>
            <a:chExt cx="7147663" cy="827403"/>
          </a:xfrm>
        </p:grpSpPr>
        <p:sp>
          <p:nvSpPr>
            <p:cNvPr id="8" name="Line 6"/>
            <p:cNvSpPr>
              <a:spLocks noChangeShapeType="1"/>
            </p:cNvSpPr>
            <p:nvPr/>
          </p:nvSpPr>
          <p:spPr bwMode="auto">
            <a:xfrm flipH="1">
              <a:off x="3171462" y="1314414"/>
              <a:ext cx="1" cy="43810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 type="triangle" w="med" len="med"/>
            </a:ln>
            <a:effectLst/>
          </p:spPr>
          <p:txBody>
            <a:bodyPr wrap="square" lIns="76650" tIns="39859" rIns="76650" bIns="39859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8">
                <a:latin typeface="+mn-lt"/>
              </a:endParaRPr>
            </a:p>
          </p:txBody>
        </p:sp>
        <p:sp>
          <p:nvSpPr>
            <p:cNvPr id="9" name="Line 6"/>
            <p:cNvSpPr>
              <a:spLocks noChangeShapeType="1"/>
            </p:cNvSpPr>
            <p:nvPr/>
          </p:nvSpPr>
          <p:spPr bwMode="auto">
            <a:xfrm flipV="1">
              <a:off x="3171463" y="1314414"/>
              <a:ext cx="2516083" cy="500563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 type="triangle" w="med" len="med"/>
            </a:ln>
            <a:effectLst/>
          </p:spPr>
          <p:txBody>
            <a:bodyPr wrap="square" lIns="76650" tIns="39859" rIns="76650" bIns="39859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8">
                <a:latin typeface="+mn-lt"/>
              </a:endParaRPr>
            </a:p>
          </p:txBody>
        </p:sp>
        <p:sp>
          <p:nvSpPr>
            <p:cNvPr id="14" name="Line 6"/>
            <p:cNvSpPr>
              <a:spLocks noChangeShapeType="1"/>
            </p:cNvSpPr>
            <p:nvPr/>
          </p:nvSpPr>
          <p:spPr bwMode="auto">
            <a:xfrm>
              <a:off x="5743970" y="1314414"/>
              <a:ext cx="1298297" cy="105208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 type="triangle" w="med" len="med"/>
            </a:ln>
            <a:effectLst/>
          </p:spPr>
          <p:txBody>
            <a:bodyPr wrap="square" lIns="76650" tIns="39859" rIns="76650" bIns="39859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8">
                <a:latin typeface="+mn-lt"/>
              </a:endParaRPr>
            </a:p>
          </p:txBody>
        </p:sp>
        <p:sp>
          <p:nvSpPr>
            <p:cNvPr id="15" name="Line 6"/>
            <p:cNvSpPr>
              <a:spLocks noChangeShapeType="1"/>
            </p:cNvSpPr>
            <p:nvPr/>
          </p:nvSpPr>
          <p:spPr bwMode="auto">
            <a:xfrm flipV="1">
              <a:off x="952729" y="1276178"/>
              <a:ext cx="2195655" cy="431476"/>
            </a:xfrm>
            <a:prstGeom prst="line">
              <a:avLst/>
            </a:prstGeom>
            <a:ln w="28575">
              <a:solidFill>
                <a:schemeClr val="accent2"/>
              </a:solidFill>
              <a:headEnd/>
              <a:tailEnd type="triangle" w="med" len="med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  <p:txBody>
            <a:bodyPr wrap="square" lIns="76650" tIns="39859" rIns="76650" bIns="39859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8">
                <a:latin typeface="+mn-lt"/>
              </a:endParaRPr>
            </a:p>
          </p:txBody>
        </p:sp>
        <p:sp>
          <p:nvSpPr>
            <p:cNvPr id="39" name="Line 6"/>
            <p:cNvSpPr>
              <a:spLocks noChangeShapeType="1"/>
            </p:cNvSpPr>
            <p:nvPr/>
          </p:nvSpPr>
          <p:spPr bwMode="auto">
            <a:xfrm flipV="1">
              <a:off x="7094433" y="987574"/>
              <a:ext cx="1005959" cy="432048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 type="triangle" w="med" len="med"/>
            </a:ln>
            <a:effectLst/>
          </p:spPr>
          <p:txBody>
            <a:bodyPr wrap="square" lIns="76650" tIns="39859" rIns="76650" bIns="39859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8">
                <a:latin typeface="+mn-lt"/>
              </a:endParaRPr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3110" y="928135"/>
            <a:ext cx="8529043" cy="2682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240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38" name="TextBox 37"/>
          <p:cNvSpPr txBox="1">
            <a:spLocks noChangeArrowheads="1"/>
          </p:cNvSpPr>
          <p:nvPr/>
        </p:nvSpPr>
        <p:spPr bwMode="auto">
          <a:xfrm>
            <a:off x="957247" y="2072663"/>
            <a:ext cx="878707" cy="382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spcBef>
                <a:spcPts val="300"/>
              </a:spcBef>
            </a:pPr>
            <a:r>
              <a:rPr lang="ru-RU" altLang="uk-UA" sz="900" b="1" dirty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Consumer electronics (CE)</a:t>
            </a:r>
            <a:endParaRPr lang="ru-RU" altLang="uk-UA" sz="900" b="1" dirty="0">
              <a:cs typeface="Arial" pitchFamily="34" charset="0"/>
            </a:endParaRPr>
          </a:p>
        </p:txBody>
      </p:sp>
      <p:sp>
        <p:nvSpPr>
          <p:cNvPr id="25641" name="TextBox 3"/>
          <p:cNvSpPr txBox="1">
            <a:spLocks noChangeArrowheads="1"/>
          </p:cNvSpPr>
          <p:nvPr/>
        </p:nvSpPr>
        <p:spPr bwMode="auto">
          <a:xfrm>
            <a:off x="3325754" y="1812855"/>
            <a:ext cx="878741" cy="72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spcBef>
                <a:spcPts val="300"/>
              </a:spcBef>
            </a:pPr>
            <a:r>
              <a:rPr lang="ru-RU" altLang="uk-UA" sz="900" b="1" dirty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Photo</a:t>
            </a:r>
            <a:endParaRPr lang="ru-RU" altLang="uk-UA" sz="900" b="1" dirty="0">
              <a:cs typeface="Arial" pitchFamily="34" charset="0"/>
            </a:endParaRPr>
          </a:p>
        </p:txBody>
      </p:sp>
      <p:sp>
        <p:nvSpPr>
          <p:cNvPr id="25643" name="TextBox 5"/>
          <p:cNvSpPr txBox="1">
            <a:spLocks noChangeArrowheads="1"/>
          </p:cNvSpPr>
          <p:nvPr/>
        </p:nvSpPr>
        <p:spPr bwMode="auto">
          <a:xfrm>
            <a:off x="4648057" y="1764526"/>
            <a:ext cx="865912" cy="266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spcBef>
                <a:spcPts val="300"/>
              </a:spcBef>
            </a:pPr>
            <a:r>
              <a:rPr lang="ru-RU" altLang="uk-UA" sz="900" b="1" dirty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Telecom</a:t>
            </a:r>
            <a:r>
              <a:rPr lang="en-US" altLang="uk-UA" sz="900" b="1" dirty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 (TC)</a:t>
            </a:r>
            <a:endParaRPr lang="ru-RU" altLang="uk-UA" sz="900" b="1" dirty="0">
              <a:cs typeface="Arial" pitchFamily="34" charset="0"/>
            </a:endParaRPr>
          </a:p>
        </p:txBody>
      </p:sp>
      <p:sp>
        <p:nvSpPr>
          <p:cNvPr id="25644" name="TextBox 6"/>
          <p:cNvSpPr txBox="1">
            <a:spLocks noChangeArrowheads="1"/>
          </p:cNvSpPr>
          <p:nvPr/>
        </p:nvSpPr>
        <p:spPr bwMode="auto">
          <a:xfrm>
            <a:off x="7044354" y="1474114"/>
            <a:ext cx="1113685" cy="431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spcBef>
                <a:spcPts val="300"/>
              </a:spcBef>
            </a:pPr>
            <a:r>
              <a:rPr lang="ru-RU" altLang="uk-UA" sz="900" b="1" dirty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Major domestic appliances (MDA)</a:t>
            </a:r>
            <a:endParaRPr lang="ru-RU" altLang="uk-UA" sz="900" b="1" dirty="0">
              <a:cs typeface="Arial" pitchFamily="34" charset="0"/>
            </a:endParaRPr>
          </a:p>
        </p:txBody>
      </p:sp>
      <p:sp>
        <p:nvSpPr>
          <p:cNvPr id="25645" name="TextBox 1"/>
          <p:cNvSpPr txBox="1">
            <a:spLocks noChangeArrowheads="1"/>
          </p:cNvSpPr>
          <p:nvPr/>
        </p:nvSpPr>
        <p:spPr bwMode="auto">
          <a:xfrm>
            <a:off x="5695553" y="1205293"/>
            <a:ext cx="1222261" cy="323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spcBef>
                <a:spcPts val="300"/>
              </a:spcBef>
            </a:pPr>
            <a:r>
              <a:rPr lang="ru-RU" altLang="uk-UA" sz="900" b="1" dirty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Small domestic appliances (SDA)</a:t>
            </a:r>
            <a:endParaRPr lang="ru-RU" altLang="uk-UA" sz="900" b="1" dirty="0">
              <a:cs typeface="Arial" pitchFamily="34" charset="0"/>
            </a:endParaRPr>
          </a:p>
        </p:txBody>
      </p:sp>
      <p:sp>
        <p:nvSpPr>
          <p:cNvPr id="66" name="Freeform 45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5016099" y="1366404"/>
            <a:ext cx="228529" cy="334860"/>
          </a:xfrm>
          <a:custGeom>
            <a:avLst/>
            <a:gdLst>
              <a:gd name="T0" fmla="*/ 600 w 1440"/>
              <a:gd name="T1" fmla="*/ 240 h 2120"/>
              <a:gd name="T2" fmla="*/ 840 w 1440"/>
              <a:gd name="T3" fmla="*/ 240 h 2120"/>
              <a:gd name="T4" fmla="*/ 880 w 1440"/>
              <a:gd name="T5" fmla="*/ 200 h 2120"/>
              <a:gd name="T6" fmla="*/ 840 w 1440"/>
              <a:gd name="T7" fmla="*/ 160 h 2120"/>
              <a:gd name="T8" fmla="*/ 600 w 1440"/>
              <a:gd name="T9" fmla="*/ 160 h 2120"/>
              <a:gd name="T10" fmla="*/ 560 w 1440"/>
              <a:gd name="T11" fmla="*/ 200 h 2120"/>
              <a:gd name="T12" fmla="*/ 600 w 1440"/>
              <a:gd name="T13" fmla="*/ 240 h 2120"/>
              <a:gd name="T14" fmla="*/ 721 w 1440"/>
              <a:gd name="T15" fmla="*/ 1759 h 2120"/>
              <a:gd name="T16" fmla="*/ 601 w 1440"/>
              <a:gd name="T17" fmla="*/ 1879 h 2120"/>
              <a:gd name="T18" fmla="*/ 721 w 1440"/>
              <a:gd name="T19" fmla="*/ 1999 h 2120"/>
              <a:gd name="T20" fmla="*/ 841 w 1440"/>
              <a:gd name="T21" fmla="*/ 1879 h 2120"/>
              <a:gd name="T22" fmla="*/ 721 w 1440"/>
              <a:gd name="T23" fmla="*/ 1759 h 2120"/>
              <a:gd name="T24" fmla="*/ 200 w 1440"/>
              <a:gd name="T25" fmla="*/ 0 h 2120"/>
              <a:gd name="T26" fmla="*/ 1240 w 1440"/>
              <a:gd name="T27" fmla="*/ 0 h 2120"/>
              <a:gd name="T28" fmla="*/ 1440 w 1440"/>
              <a:gd name="T29" fmla="*/ 200 h 2120"/>
              <a:gd name="T30" fmla="*/ 1440 w 1440"/>
              <a:gd name="T31" fmla="*/ 1920 h 2120"/>
              <a:gd name="T32" fmla="*/ 1240 w 1440"/>
              <a:gd name="T33" fmla="*/ 2120 h 2120"/>
              <a:gd name="T34" fmla="*/ 200 w 1440"/>
              <a:gd name="T35" fmla="*/ 2120 h 2120"/>
              <a:gd name="T36" fmla="*/ 0 w 1440"/>
              <a:gd name="T37" fmla="*/ 1920 h 2120"/>
              <a:gd name="T38" fmla="*/ 0 w 1440"/>
              <a:gd name="T39" fmla="*/ 200 h 2120"/>
              <a:gd name="T40" fmla="*/ 200 w 1440"/>
              <a:gd name="T41" fmla="*/ 0 h 2120"/>
              <a:gd name="T42" fmla="*/ 200 w 1440"/>
              <a:gd name="T43" fmla="*/ 360 h 2120"/>
              <a:gd name="T44" fmla="*/ 200 w 1440"/>
              <a:gd name="T45" fmla="*/ 1680 h 2120"/>
              <a:gd name="T46" fmla="*/ 1240 w 1440"/>
              <a:gd name="T47" fmla="*/ 1680 h 2120"/>
              <a:gd name="T48" fmla="*/ 1240 w 1440"/>
              <a:gd name="T49" fmla="*/ 360 h 2120"/>
              <a:gd name="T50" fmla="*/ 200 w 1440"/>
              <a:gd name="T51" fmla="*/ 360 h 2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440" h="2120">
                <a:moveTo>
                  <a:pt x="600" y="240"/>
                </a:moveTo>
                <a:cubicBezTo>
                  <a:pt x="840" y="240"/>
                  <a:pt x="840" y="240"/>
                  <a:pt x="840" y="240"/>
                </a:cubicBezTo>
                <a:cubicBezTo>
                  <a:pt x="862" y="240"/>
                  <a:pt x="880" y="222"/>
                  <a:pt x="880" y="200"/>
                </a:cubicBezTo>
                <a:cubicBezTo>
                  <a:pt x="880" y="178"/>
                  <a:pt x="862" y="160"/>
                  <a:pt x="840" y="160"/>
                </a:cubicBezTo>
                <a:cubicBezTo>
                  <a:pt x="600" y="160"/>
                  <a:pt x="600" y="160"/>
                  <a:pt x="600" y="160"/>
                </a:cubicBezTo>
                <a:cubicBezTo>
                  <a:pt x="578" y="160"/>
                  <a:pt x="560" y="178"/>
                  <a:pt x="560" y="200"/>
                </a:cubicBezTo>
                <a:cubicBezTo>
                  <a:pt x="560" y="222"/>
                  <a:pt x="578" y="240"/>
                  <a:pt x="600" y="240"/>
                </a:cubicBezTo>
                <a:close/>
                <a:moveTo>
                  <a:pt x="721" y="1759"/>
                </a:moveTo>
                <a:cubicBezTo>
                  <a:pt x="655" y="1759"/>
                  <a:pt x="601" y="1813"/>
                  <a:pt x="601" y="1879"/>
                </a:cubicBezTo>
                <a:cubicBezTo>
                  <a:pt x="601" y="1945"/>
                  <a:pt x="655" y="1999"/>
                  <a:pt x="721" y="1999"/>
                </a:cubicBezTo>
                <a:cubicBezTo>
                  <a:pt x="787" y="1999"/>
                  <a:pt x="841" y="1945"/>
                  <a:pt x="841" y="1879"/>
                </a:cubicBezTo>
                <a:cubicBezTo>
                  <a:pt x="841" y="1813"/>
                  <a:pt x="787" y="1759"/>
                  <a:pt x="721" y="1759"/>
                </a:cubicBezTo>
                <a:close/>
                <a:moveTo>
                  <a:pt x="200" y="0"/>
                </a:moveTo>
                <a:cubicBezTo>
                  <a:pt x="1240" y="0"/>
                  <a:pt x="1240" y="0"/>
                  <a:pt x="1240" y="0"/>
                </a:cubicBezTo>
                <a:cubicBezTo>
                  <a:pt x="1350" y="0"/>
                  <a:pt x="1440" y="90"/>
                  <a:pt x="1440" y="200"/>
                </a:cubicBezTo>
                <a:cubicBezTo>
                  <a:pt x="1440" y="1920"/>
                  <a:pt x="1440" y="1920"/>
                  <a:pt x="1440" y="1920"/>
                </a:cubicBezTo>
                <a:cubicBezTo>
                  <a:pt x="1440" y="2030"/>
                  <a:pt x="1350" y="2120"/>
                  <a:pt x="1240" y="2120"/>
                </a:cubicBezTo>
                <a:cubicBezTo>
                  <a:pt x="200" y="2120"/>
                  <a:pt x="200" y="2120"/>
                  <a:pt x="200" y="2120"/>
                </a:cubicBezTo>
                <a:cubicBezTo>
                  <a:pt x="90" y="2120"/>
                  <a:pt x="0" y="2030"/>
                  <a:pt x="0" y="1920"/>
                </a:cubicBezTo>
                <a:cubicBezTo>
                  <a:pt x="0" y="200"/>
                  <a:pt x="0" y="200"/>
                  <a:pt x="0" y="200"/>
                </a:cubicBezTo>
                <a:cubicBezTo>
                  <a:pt x="0" y="90"/>
                  <a:pt x="90" y="0"/>
                  <a:pt x="200" y="0"/>
                </a:cubicBezTo>
                <a:close/>
                <a:moveTo>
                  <a:pt x="200" y="360"/>
                </a:moveTo>
                <a:cubicBezTo>
                  <a:pt x="200" y="1680"/>
                  <a:pt x="200" y="1680"/>
                  <a:pt x="200" y="1680"/>
                </a:cubicBezTo>
                <a:cubicBezTo>
                  <a:pt x="1240" y="1680"/>
                  <a:pt x="1240" y="1680"/>
                  <a:pt x="1240" y="1680"/>
                </a:cubicBezTo>
                <a:cubicBezTo>
                  <a:pt x="1240" y="360"/>
                  <a:pt x="1240" y="360"/>
                  <a:pt x="1240" y="360"/>
                </a:cubicBezTo>
                <a:lnTo>
                  <a:pt x="200" y="36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lIns="91384" tIns="45692" rIns="91384" bIns="45692"/>
          <a:lstStyle/>
          <a:p>
            <a:pPr>
              <a:defRPr/>
            </a:pPr>
            <a:endParaRPr lang="en-US" sz="1000" b="1" noProof="1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25647" name="Freeform 102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2399621" y="1455394"/>
            <a:ext cx="365844" cy="263751"/>
          </a:xfrm>
          <a:custGeom>
            <a:avLst/>
            <a:gdLst>
              <a:gd name="T0" fmla="*/ 2147483647 w 2240"/>
              <a:gd name="T1" fmla="*/ 2147483647 h 1760"/>
              <a:gd name="T2" fmla="*/ 2147483647 w 2240"/>
              <a:gd name="T3" fmla="*/ 2147483647 h 1760"/>
              <a:gd name="T4" fmla="*/ 2147483647 w 2240"/>
              <a:gd name="T5" fmla="*/ 2147483647 h 1760"/>
              <a:gd name="T6" fmla="*/ 2147483647 w 2240"/>
              <a:gd name="T7" fmla="*/ 2147483647 h 1760"/>
              <a:gd name="T8" fmla="*/ 0 w 2240"/>
              <a:gd name="T9" fmla="*/ 2147483647 h 1760"/>
              <a:gd name="T10" fmla="*/ 0 w 2240"/>
              <a:gd name="T11" fmla="*/ 2147483647 h 1760"/>
              <a:gd name="T12" fmla="*/ 2147483647 w 2240"/>
              <a:gd name="T13" fmla="*/ 2147483647 h 1760"/>
              <a:gd name="T14" fmla="*/ 2147483647 w 2240"/>
              <a:gd name="T15" fmla="*/ 2147483647 h 1760"/>
              <a:gd name="T16" fmla="*/ 2147483647 w 2240"/>
              <a:gd name="T17" fmla="*/ 2147483647 h 1760"/>
              <a:gd name="T18" fmla="*/ 2147483647 w 2240"/>
              <a:gd name="T19" fmla="*/ 0 h 1760"/>
              <a:gd name="T20" fmla="*/ 2147483647 w 2240"/>
              <a:gd name="T21" fmla="*/ 0 h 1760"/>
              <a:gd name="T22" fmla="*/ 2147483647 w 2240"/>
              <a:gd name="T23" fmla="*/ 2147483647 h 1760"/>
              <a:gd name="T24" fmla="*/ 2147483647 w 2240"/>
              <a:gd name="T25" fmla="*/ 2147483647 h 1760"/>
              <a:gd name="T26" fmla="*/ 2147483647 w 2240"/>
              <a:gd name="T27" fmla="*/ 2147483647 h 1760"/>
              <a:gd name="T28" fmla="*/ 2147483647 w 2240"/>
              <a:gd name="T29" fmla="*/ 2147483647 h 1760"/>
              <a:gd name="T30" fmla="*/ 2147483647 w 2240"/>
              <a:gd name="T31" fmla="*/ 2147483647 h 1760"/>
              <a:gd name="T32" fmla="*/ 2147483647 w 2240"/>
              <a:gd name="T33" fmla="*/ 2147483647 h 1760"/>
              <a:gd name="T34" fmla="*/ 2147483647 w 2240"/>
              <a:gd name="T35" fmla="*/ 2147483647 h 1760"/>
              <a:gd name="T36" fmla="*/ 2147483647 w 2240"/>
              <a:gd name="T37" fmla="*/ 2147483647 h 1760"/>
              <a:gd name="T38" fmla="*/ 2147483647 w 2240"/>
              <a:gd name="T39" fmla="*/ 2147483647 h 1760"/>
              <a:gd name="T40" fmla="*/ 2147483647 w 2240"/>
              <a:gd name="T41" fmla="*/ 2147483647 h 1760"/>
              <a:gd name="T42" fmla="*/ 2147483647 w 2240"/>
              <a:gd name="T43" fmla="*/ 2147483647 h 1760"/>
              <a:gd name="T44" fmla="*/ 2147483647 w 2240"/>
              <a:gd name="T45" fmla="*/ 2147483647 h 1760"/>
              <a:gd name="T46" fmla="*/ 2147483647 w 2240"/>
              <a:gd name="T47" fmla="*/ 2147483647 h 1760"/>
              <a:gd name="T48" fmla="*/ 2147483647 w 2240"/>
              <a:gd name="T49" fmla="*/ 2147483647 h 1760"/>
              <a:gd name="T50" fmla="*/ 2147483647 w 2240"/>
              <a:gd name="T51" fmla="*/ 2147483647 h 1760"/>
              <a:gd name="T52" fmla="*/ 2147483647 w 2240"/>
              <a:gd name="T53" fmla="*/ 2147483647 h 1760"/>
              <a:gd name="T54" fmla="*/ 2147483647 w 2240"/>
              <a:gd name="T55" fmla="*/ 2147483647 h 1760"/>
              <a:gd name="T56" fmla="*/ 2147483647 w 2240"/>
              <a:gd name="T57" fmla="*/ 2147483647 h 1760"/>
              <a:gd name="T58" fmla="*/ 2147483647 w 2240"/>
              <a:gd name="T59" fmla="*/ 2147483647 h 1760"/>
              <a:gd name="T60" fmla="*/ 2147483647 w 2240"/>
              <a:gd name="T61" fmla="*/ 2147483647 h 1760"/>
              <a:gd name="T62" fmla="*/ 2147483647 w 2240"/>
              <a:gd name="T63" fmla="*/ 2147483647 h 176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240" h="1760">
                <a:moveTo>
                  <a:pt x="2240" y="1360"/>
                </a:moveTo>
                <a:cubicBezTo>
                  <a:pt x="2240" y="1560"/>
                  <a:pt x="2240" y="1560"/>
                  <a:pt x="2240" y="1560"/>
                </a:cubicBezTo>
                <a:cubicBezTo>
                  <a:pt x="2240" y="1670"/>
                  <a:pt x="2150" y="1760"/>
                  <a:pt x="2040" y="1760"/>
                </a:cubicBezTo>
                <a:cubicBezTo>
                  <a:pt x="200" y="1760"/>
                  <a:pt x="200" y="1760"/>
                  <a:pt x="200" y="1760"/>
                </a:cubicBezTo>
                <a:cubicBezTo>
                  <a:pt x="90" y="1760"/>
                  <a:pt x="0" y="1670"/>
                  <a:pt x="0" y="1560"/>
                </a:cubicBezTo>
                <a:cubicBezTo>
                  <a:pt x="0" y="1360"/>
                  <a:pt x="0" y="1360"/>
                  <a:pt x="0" y="1360"/>
                </a:cubicBezTo>
                <a:cubicBezTo>
                  <a:pt x="747" y="1360"/>
                  <a:pt x="1493" y="1360"/>
                  <a:pt x="2240" y="1360"/>
                </a:cubicBezTo>
                <a:close/>
                <a:moveTo>
                  <a:pt x="160" y="1280"/>
                </a:moveTo>
                <a:cubicBezTo>
                  <a:pt x="160" y="120"/>
                  <a:pt x="160" y="120"/>
                  <a:pt x="160" y="120"/>
                </a:cubicBezTo>
                <a:cubicBezTo>
                  <a:pt x="160" y="54"/>
                  <a:pt x="214" y="0"/>
                  <a:pt x="280" y="0"/>
                </a:cubicBezTo>
                <a:cubicBezTo>
                  <a:pt x="1960" y="0"/>
                  <a:pt x="1960" y="0"/>
                  <a:pt x="1960" y="0"/>
                </a:cubicBezTo>
                <a:cubicBezTo>
                  <a:pt x="2026" y="0"/>
                  <a:pt x="2080" y="54"/>
                  <a:pt x="2080" y="120"/>
                </a:cubicBezTo>
                <a:cubicBezTo>
                  <a:pt x="2080" y="1280"/>
                  <a:pt x="2080" y="1280"/>
                  <a:pt x="2080" y="1280"/>
                </a:cubicBezTo>
                <a:cubicBezTo>
                  <a:pt x="2000" y="1280"/>
                  <a:pt x="2000" y="1280"/>
                  <a:pt x="2000" y="1280"/>
                </a:cubicBezTo>
                <a:cubicBezTo>
                  <a:pt x="2000" y="120"/>
                  <a:pt x="2000" y="120"/>
                  <a:pt x="2000" y="120"/>
                </a:cubicBezTo>
                <a:cubicBezTo>
                  <a:pt x="2000" y="98"/>
                  <a:pt x="1982" y="80"/>
                  <a:pt x="1960" y="80"/>
                </a:cubicBezTo>
                <a:cubicBezTo>
                  <a:pt x="280" y="80"/>
                  <a:pt x="280" y="80"/>
                  <a:pt x="280" y="80"/>
                </a:cubicBezTo>
                <a:cubicBezTo>
                  <a:pt x="258" y="80"/>
                  <a:pt x="240" y="98"/>
                  <a:pt x="240" y="120"/>
                </a:cubicBezTo>
                <a:cubicBezTo>
                  <a:pt x="240" y="1280"/>
                  <a:pt x="240" y="1280"/>
                  <a:pt x="240" y="1280"/>
                </a:cubicBezTo>
                <a:lnTo>
                  <a:pt x="160" y="1280"/>
                </a:lnTo>
                <a:close/>
                <a:moveTo>
                  <a:pt x="960" y="1600"/>
                </a:moveTo>
                <a:cubicBezTo>
                  <a:pt x="1280" y="1600"/>
                  <a:pt x="1280" y="1600"/>
                  <a:pt x="1280" y="1600"/>
                </a:cubicBezTo>
                <a:cubicBezTo>
                  <a:pt x="1302" y="1600"/>
                  <a:pt x="1320" y="1582"/>
                  <a:pt x="1320" y="1560"/>
                </a:cubicBezTo>
                <a:cubicBezTo>
                  <a:pt x="1320" y="1538"/>
                  <a:pt x="1302" y="1520"/>
                  <a:pt x="1280" y="1520"/>
                </a:cubicBezTo>
                <a:cubicBezTo>
                  <a:pt x="960" y="1520"/>
                  <a:pt x="960" y="1520"/>
                  <a:pt x="960" y="1520"/>
                </a:cubicBezTo>
                <a:cubicBezTo>
                  <a:pt x="938" y="1520"/>
                  <a:pt x="920" y="1538"/>
                  <a:pt x="920" y="1560"/>
                </a:cubicBezTo>
                <a:cubicBezTo>
                  <a:pt x="920" y="1582"/>
                  <a:pt x="938" y="1600"/>
                  <a:pt x="960" y="1600"/>
                </a:cubicBezTo>
                <a:close/>
                <a:moveTo>
                  <a:pt x="320" y="1280"/>
                </a:moveTo>
                <a:cubicBezTo>
                  <a:pt x="320" y="160"/>
                  <a:pt x="320" y="160"/>
                  <a:pt x="320" y="160"/>
                </a:cubicBezTo>
                <a:cubicBezTo>
                  <a:pt x="1920" y="160"/>
                  <a:pt x="1920" y="160"/>
                  <a:pt x="1920" y="160"/>
                </a:cubicBezTo>
                <a:cubicBezTo>
                  <a:pt x="1920" y="1280"/>
                  <a:pt x="1920" y="1280"/>
                  <a:pt x="1920" y="1280"/>
                </a:cubicBezTo>
                <a:lnTo>
                  <a:pt x="320" y="128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84" tIns="45692" rIns="91384" bIns="45692"/>
          <a:lstStyle/>
          <a:p>
            <a:endParaRPr lang="en-US"/>
          </a:p>
        </p:txBody>
      </p:sp>
      <p:sp>
        <p:nvSpPr>
          <p:cNvPr id="25648" name="Freeform 30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1211015" y="1681730"/>
            <a:ext cx="375859" cy="381883"/>
          </a:xfrm>
          <a:custGeom>
            <a:avLst/>
            <a:gdLst>
              <a:gd name="T0" fmla="*/ 2147483647 w 2080"/>
              <a:gd name="T1" fmla="*/ 2147483647 h 2113"/>
              <a:gd name="T2" fmla="*/ 2147483647 w 2080"/>
              <a:gd name="T3" fmla="*/ 2147483647 h 2113"/>
              <a:gd name="T4" fmla="*/ 2147483647 w 2080"/>
              <a:gd name="T5" fmla="*/ 2147483647 h 2113"/>
              <a:gd name="T6" fmla="*/ 2147483647 w 2080"/>
              <a:gd name="T7" fmla="*/ 2147483647 h 2113"/>
              <a:gd name="T8" fmla="*/ 2147483647 w 2080"/>
              <a:gd name="T9" fmla="*/ 0 h 2113"/>
              <a:gd name="T10" fmla="*/ 2147483647 w 2080"/>
              <a:gd name="T11" fmla="*/ 2147483647 h 2113"/>
              <a:gd name="T12" fmla="*/ 2147483647 w 2080"/>
              <a:gd name="T13" fmla="*/ 2147483647 h 2113"/>
              <a:gd name="T14" fmla="*/ 2147483647 w 2080"/>
              <a:gd name="T15" fmla="*/ 2147483647 h 2113"/>
              <a:gd name="T16" fmla="*/ 2147483647 w 2080"/>
              <a:gd name="T17" fmla="*/ 2147483647 h 2113"/>
              <a:gd name="T18" fmla="*/ 2147483647 w 2080"/>
              <a:gd name="T19" fmla="*/ 2147483647 h 2113"/>
              <a:gd name="T20" fmla="*/ 2147483647 w 2080"/>
              <a:gd name="T21" fmla="*/ 2147483647 h 2113"/>
              <a:gd name="T22" fmla="*/ 0 w 2080"/>
              <a:gd name="T23" fmla="*/ 2147483647 h 2113"/>
              <a:gd name="T24" fmla="*/ 2147483647 w 2080"/>
              <a:gd name="T25" fmla="*/ 2147483647 h 2113"/>
              <a:gd name="T26" fmla="*/ 2147483647 w 2080"/>
              <a:gd name="T27" fmla="*/ 2147483647 h 2113"/>
              <a:gd name="T28" fmla="*/ 2147483647 w 2080"/>
              <a:gd name="T29" fmla="*/ 2147483647 h 2113"/>
              <a:gd name="T30" fmla="*/ 2147483647 w 2080"/>
              <a:gd name="T31" fmla="*/ 2147483647 h 2113"/>
              <a:gd name="T32" fmla="*/ 2147483647 w 2080"/>
              <a:gd name="T33" fmla="*/ 2147483647 h 2113"/>
              <a:gd name="T34" fmla="*/ 2147483647 w 2080"/>
              <a:gd name="T35" fmla="*/ 2147483647 h 2113"/>
              <a:gd name="T36" fmla="*/ 2147483647 w 2080"/>
              <a:gd name="T37" fmla="*/ 2147483647 h 2113"/>
              <a:gd name="T38" fmla="*/ 2147483647 w 2080"/>
              <a:gd name="T39" fmla="*/ 2147483647 h 2113"/>
              <a:gd name="T40" fmla="*/ 2147483647 w 2080"/>
              <a:gd name="T41" fmla="*/ 2147483647 h 2113"/>
              <a:gd name="T42" fmla="*/ 2147483647 w 2080"/>
              <a:gd name="T43" fmla="*/ 2147483647 h 2113"/>
              <a:gd name="T44" fmla="*/ 2147483647 w 2080"/>
              <a:gd name="T45" fmla="*/ 2147483647 h 2113"/>
              <a:gd name="T46" fmla="*/ 2147483647 w 2080"/>
              <a:gd name="T47" fmla="*/ 2147483647 h 2113"/>
              <a:gd name="T48" fmla="*/ 2147483647 w 2080"/>
              <a:gd name="T49" fmla="*/ 2147483647 h 2113"/>
              <a:gd name="T50" fmla="*/ 2147483647 w 2080"/>
              <a:gd name="T51" fmla="*/ 2147483647 h 2113"/>
              <a:gd name="T52" fmla="*/ 2147483647 w 2080"/>
              <a:gd name="T53" fmla="*/ 2147483647 h 2113"/>
              <a:gd name="T54" fmla="*/ 2147483647 w 2080"/>
              <a:gd name="T55" fmla="*/ 2147483647 h 2113"/>
              <a:gd name="T56" fmla="*/ 2147483647 w 2080"/>
              <a:gd name="T57" fmla="*/ 2147483647 h 2113"/>
              <a:gd name="T58" fmla="*/ 2147483647 w 2080"/>
              <a:gd name="T59" fmla="*/ 2147483647 h 2113"/>
              <a:gd name="T60" fmla="*/ 2147483647 w 2080"/>
              <a:gd name="T61" fmla="*/ 2147483647 h 2113"/>
              <a:gd name="T62" fmla="*/ 2147483647 w 2080"/>
              <a:gd name="T63" fmla="*/ 2147483647 h 2113"/>
              <a:gd name="T64" fmla="*/ 2147483647 w 2080"/>
              <a:gd name="T65" fmla="*/ 2147483647 h 2113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080" h="2113">
                <a:moveTo>
                  <a:pt x="1760" y="1633"/>
                </a:moveTo>
                <a:cubicBezTo>
                  <a:pt x="1716" y="1633"/>
                  <a:pt x="1680" y="1669"/>
                  <a:pt x="1680" y="1713"/>
                </a:cubicBezTo>
                <a:cubicBezTo>
                  <a:pt x="1680" y="1757"/>
                  <a:pt x="1716" y="1793"/>
                  <a:pt x="1760" y="1793"/>
                </a:cubicBezTo>
                <a:cubicBezTo>
                  <a:pt x="1804" y="1793"/>
                  <a:pt x="1840" y="1757"/>
                  <a:pt x="1840" y="1713"/>
                </a:cubicBezTo>
                <a:cubicBezTo>
                  <a:pt x="1840" y="1669"/>
                  <a:pt x="1804" y="1633"/>
                  <a:pt x="1760" y="1633"/>
                </a:cubicBezTo>
                <a:close/>
                <a:moveTo>
                  <a:pt x="388" y="5"/>
                </a:moveTo>
                <a:cubicBezTo>
                  <a:pt x="810" y="426"/>
                  <a:pt x="810" y="426"/>
                  <a:pt x="810" y="426"/>
                </a:cubicBezTo>
                <a:cubicBezTo>
                  <a:pt x="841" y="405"/>
                  <a:pt x="879" y="393"/>
                  <a:pt x="920" y="393"/>
                </a:cubicBezTo>
                <a:cubicBezTo>
                  <a:pt x="975" y="393"/>
                  <a:pt x="1025" y="415"/>
                  <a:pt x="1061" y="451"/>
                </a:cubicBezTo>
                <a:cubicBezTo>
                  <a:pt x="1738" y="0"/>
                  <a:pt x="1738" y="0"/>
                  <a:pt x="1738" y="0"/>
                </a:cubicBezTo>
                <a:cubicBezTo>
                  <a:pt x="1782" y="66"/>
                  <a:pt x="1782" y="66"/>
                  <a:pt x="1782" y="66"/>
                </a:cubicBezTo>
                <a:cubicBezTo>
                  <a:pt x="1105" y="517"/>
                  <a:pt x="1105" y="517"/>
                  <a:pt x="1105" y="517"/>
                </a:cubicBezTo>
                <a:cubicBezTo>
                  <a:pt x="1110" y="529"/>
                  <a:pt x="1114" y="541"/>
                  <a:pt x="1116" y="553"/>
                </a:cubicBezTo>
                <a:cubicBezTo>
                  <a:pt x="2080" y="553"/>
                  <a:pt x="2080" y="553"/>
                  <a:pt x="2080" y="553"/>
                </a:cubicBezTo>
                <a:cubicBezTo>
                  <a:pt x="2080" y="2033"/>
                  <a:pt x="2080" y="2033"/>
                  <a:pt x="2080" y="2033"/>
                </a:cubicBezTo>
                <a:cubicBezTo>
                  <a:pt x="1920" y="2033"/>
                  <a:pt x="1920" y="2033"/>
                  <a:pt x="1920" y="2033"/>
                </a:cubicBezTo>
                <a:cubicBezTo>
                  <a:pt x="1920" y="2113"/>
                  <a:pt x="1920" y="2113"/>
                  <a:pt x="1920" y="2113"/>
                </a:cubicBezTo>
                <a:cubicBezTo>
                  <a:pt x="1813" y="2113"/>
                  <a:pt x="1707" y="2113"/>
                  <a:pt x="1600" y="2113"/>
                </a:cubicBezTo>
                <a:cubicBezTo>
                  <a:pt x="1600" y="2033"/>
                  <a:pt x="1600" y="2033"/>
                  <a:pt x="1600" y="2033"/>
                </a:cubicBezTo>
                <a:cubicBezTo>
                  <a:pt x="480" y="2033"/>
                  <a:pt x="480" y="2033"/>
                  <a:pt x="480" y="2033"/>
                </a:cubicBezTo>
                <a:cubicBezTo>
                  <a:pt x="480" y="2113"/>
                  <a:pt x="480" y="2113"/>
                  <a:pt x="480" y="2113"/>
                </a:cubicBezTo>
                <a:cubicBezTo>
                  <a:pt x="160" y="2113"/>
                  <a:pt x="160" y="2113"/>
                  <a:pt x="160" y="2113"/>
                </a:cubicBezTo>
                <a:cubicBezTo>
                  <a:pt x="160" y="2033"/>
                  <a:pt x="160" y="2033"/>
                  <a:pt x="160" y="2033"/>
                </a:cubicBezTo>
                <a:cubicBezTo>
                  <a:pt x="0" y="2033"/>
                  <a:pt x="0" y="2033"/>
                  <a:pt x="0" y="2033"/>
                </a:cubicBezTo>
                <a:cubicBezTo>
                  <a:pt x="0" y="553"/>
                  <a:pt x="0" y="553"/>
                  <a:pt x="0" y="553"/>
                </a:cubicBezTo>
                <a:cubicBezTo>
                  <a:pt x="724" y="553"/>
                  <a:pt x="724" y="553"/>
                  <a:pt x="724" y="553"/>
                </a:cubicBezTo>
                <a:cubicBezTo>
                  <a:pt x="729" y="527"/>
                  <a:pt x="739" y="504"/>
                  <a:pt x="753" y="483"/>
                </a:cubicBezTo>
                <a:cubicBezTo>
                  <a:pt x="332" y="61"/>
                  <a:pt x="332" y="61"/>
                  <a:pt x="332" y="61"/>
                </a:cubicBezTo>
                <a:lnTo>
                  <a:pt x="388" y="5"/>
                </a:lnTo>
                <a:close/>
                <a:moveTo>
                  <a:pt x="1760" y="1393"/>
                </a:moveTo>
                <a:cubicBezTo>
                  <a:pt x="1716" y="1393"/>
                  <a:pt x="1680" y="1429"/>
                  <a:pt x="1680" y="1473"/>
                </a:cubicBezTo>
                <a:cubicBezTo>
                  <a:pt x="1680" y="1517"/>
                  <a:pt x="1716" y="1553"/>
                  <a:pt x="1760" y="1553"/>
                </a:cubicBezTo>
                <a:cubicBezTo>
                  <a:pt x="1804" y="1553"/>
                  <a:pt x="1840" y="1517"/>
                  <a:pt x="1840" y="1473"/>
                </a:cubicBezTo>
                <a:cubicBezTo>
                  <a:pt x="1840" y="1429"/>
                  <a:pt x="1804" y="1393"/>
                  <a:pt x="1760" y="1393"/>
                </a:cubicBezTo>
                <a:close/>
                <a:moveTo>
                  <a:pt x="1600" y="1153"/>
                </a:moveTo>
                <a:cubicBezTo>
                  <a:pt x="1600" y="1233"/>
                  <a:pt x="1600" y="1233"/>
                  <a:pt x="1600" y="1233"/>
                </a:cubicBezTo>
                <a:cubicBezTo>
                  <a:pt x="1920" y="1233"/>
                  <a:pt x="1920" y="1233"/>
                  <a:pt x="1920" y="1233"/>
                </a:cubicBezTo>
                <a:cubicBezTo>
                  <a:pt x="1920" y="1153"/>
                  <a:pt x="1920" y="1153"/>
                  <a:pt x="1920" y="1153"/>
                </a:cubicBezTo>
                <a:lnTo>
                  <a:pt x="1600" y="1153"/>
                </a:lnTo>
                <a:close/>
                <a:moveTo>
                  <a:pt x="1600" y="993"/>
                </a:moveTo>
                <a:cubicBezTo>
                  <a:pt x="1600" y="1073"/>
                  <a:pt x="1600" y="1073"/>
                  <a:pt x="1600" y="1073"/>
                </a:cubicBezTo>
                <a:cubicBezTo>
                  <a:pt x="1920" y="1073"/>
                  <a:pt x="1920" y="1073"/>
                  <a:pt x="1920" y="1073"/>
                </a:cubicBezTo>
                <a:cubicBezTo>
                  <a:pt x="1920" y="993"/>
                  <a:pt x="1920" y="993"/>
                  <a:pt x="1920" y="993"/>
                </a:cubicBezTo>
                <a:lnTo>
                  <a:pt x="1600" y="993"/>
                </a:lnTo>
                <a:close/>
                <a:moveTo>
                  <a:pt x="1600" y="833"/>
                </a:moveTo>
                <a:cubicBezTo>
                  <a:pt x="1600" y="913"/>
                  <a:pt x="1600" y="913"/>
                  <a:pt x="1600" y="913"/>
                </a:cubicBezTo>
                <a:cubicBezTo>
                  <a:pt x="1920" y="913"/>
                  <a:pt x="1920" y="913"/>
                  <a:pt x="1920" y="913"/>
                </a:cubicBezTo>
                <a:cubicBezTo>
                  <a:pt x="1920" y="833"/>
                  <a:pt x="1920" y="833"/>
                  <a:pt x="1920" y="833"/>
                </a:cubicBezTo>
                <a:lnTo>
                  <a:pt x="1600" y="833"/>
                </a:lnTo>
                <a:close/>
                <a:moveTo>
                  <a:pt x="400" y="713"/>
                </a:moveTo>
                <a:cubicBezTo>
                  <a:pt x="268" y="713"/>
                  <a:pt x="160" y="821"/>
                  <a:pt x="160" y="953"/>
                </a:cubicBezTo>
                <a:cubicBezTo>
                  <a:pt x="160" y="1633"/>
                  <a:pt x="160" y="1633"/>
                  <a:pt x="160" y="1633"/>
                </a:cubicBezTo>
                <a:cubicBezTo>
                  <a:pt x="160" y="1765"/>
                  <a:pt x="268" y="1873"/>
                  <a:pt x="400" y="1873"/>
                </a:cubicBezTo>
                <a:cubicBezTo>
                  <a:pt x="1280" y="1873"/>
                  <a:pt x="1280" y="1873"/>
                  <a:pt x="1280" y="1873"/>
                </a:cubicBezTo>
                <a:cubicBezTo>
                  <a:pt x="1412" y="1873"/>
                  <a:pt x="1520" y="1765"/>
                  <a:pt x="1520" y="1633"/>
                </a:cubicBezTo>
                <a:cubicBezTo>
                  <a:pt x="1520" y="953"/>
                  <a:pt x="1520" y="953"/>
                  <a:pt x="1520" y="953"/>
                </a:cubicBezTo>
                <a:cubicBezTo>
                  <a:pt x="1520" y="821"/>
                  <a:pt x="1412" y="713"/>
                  <a:pt x="1280" y="713"/>
                </a:cubicBezTo>
                <a:lnTo>
                  <a:pt x="400" y="713"/>
                </a:lnTo>
                <a:close/>
                <a:moveTo>
                  <a:pt x="1280" y="793"/>
                </a:moveTo>
                <a:cubicBezTo>
                  <a:pt x="1368" y="793"/>
                  <a:pt x="1440" y="865"/>
                  <a:pt x="1440" y="953"/>
                </a:cubicBezTo>
                <a:cubicBezTo>
                  <a:pt x="1440" y="1633"/>
                  <a:pt x="1440" y="1633"/>
                  <a:pt x="1440" y="1633"/>
                </a:cubicBezTo>
                <a:cubicBezTo>
                  <a:pt x="1440" y="1721"/>
                  <a:pt x="1368" y="1793"/>
                  <a:pt x="1280" y="1793"/>
                </a:cubicBezTo>
                <a:cubicBezTo>
                  <a:pt x="400" y="1793"/>
                  <a:pt x="400" y="1793"/>
                  <a:pt x="400" y="1793"/>
                </a:cubicBezTo>
                <a:cubicBezTo>
                  <a:pt x="312" y="1793"/>
                  <a:pt x="240" y="1721"/>
                  <a:pt x="240" y="1633"/>
                </a:cubicBezTo>
                <a:cubicBezTo>
                  <a:pt x="240" y="953"/>
                  <a:pt x="240" y="953"/>
                  <a:pt x="240" y="953"/>
                </a:cubicBezTo>
                <a:cubicBezTo>
                  <a:pt x="240" y="865"/>
                  <a:pt x="312" y="793"/>
                  <a:pt x="400" y="793"/>
                </a:cubicBezTo>
                <a:lnTo>
                  <a:pt x="1280" y="7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84" tIns="45692" rIns="91384" bIns="45692"/>
          <a:lstStyle/>
          <a:p>
            <a:endParaRPr lang="en-US"/>
          </a:p>
        </p:txBody>
      </p:sp>
      <p:sp>
        <p:nvSpPr>
          <p:cNvPr id="74" name="Freeform 26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3620770" y="1515356"/>
            <a:ext cx="333273" cy="269792"/>
          </a:xfrm>
          <a:custGeom>
            <a:avLst/>
            <a:gdLst>
              <a:gd name="T0" fmla="*/ 560 w 2080"/>
              <a:gd name="T1" fmla="*/ 240 h 1680"/>
              <a:gd name="T2" fmla="*/ 640 w 2080"/>
              <a:gd name="T3" fmla="*/ 160 h 1680"/>
              <a:gd name="T4" fmla="*/ 800 w 2080"/>
              <a:gd name="T5" fmla="*/ 0 h 1680"/>
              <a:gd name="T6" fmla="*/ 1280 w 2080"/>
              <a:gd name="T7" fmla="*/ 0 h 1680"/>
              <a:gd name="T8" fmla="*/ 1440 w 2080"/>
              <a:gd name="T9" fmla="*/ 160 h 1680"/>
              <a:gd name="T10" fmla="*/ 1520 w 2080"/>
              <a:gd name="T11" fmla="*/ 240 h 1680"/>
              <a:gd name="T12" fmla="*/ 1920 w 2080"/>
              <a:gd name="T13" fmla="*/ 240 h 1680"/>
              <a:gd name="T14" fmla="*/ 2080 w 2080"/>
              <a:gd name="T15" fmla="*/ 400 h 1680"/>
              <a:gd name="T16" fmla="*/ 2080 w 2080"/>
              <a:gd name="T17" fmla="*/ 1520 h 1680"/>
              <a:gd name="T18" fmla="*/ 1920 w 2080"/>
              <a:gd name="T19" fmla="*/ 1680 h 1680"/>
              <a:gd name="T20" fmla="*/ 160 w 2080"/>
              <a:gd name="T21" fmla="*/ 1680 h 1680"/>
              <a:gd name="T22" fmla="*/ 0 w 2080"/>
              <a:gd name="T23" fmla="*/ 1520 h 1680"/>
              <a:gd name="T24" fmla="*/ 0 w 2080"/>
              <a:gd name="T25" fmla="*/ 400 h 1680"/>
              <a:gd name="T26" fmla="*/ 160 w 2080"/>
              <a:gd name="T27" fmla="*/ 240 h 1680"/>
              <a:gd name="T28" fmla="*/ 560 w 2080"/>
              <a:gd name="T29" fmla="*/ 240 h 1680"/>
              <a:gd name="T30" fmla="*/ 1400 w 2080"/>
              <a:gd name="T31" fmla="*/ 920 h 1680"/>
              <a:gd name="T32" fmla="*/ 1320 w 2080"/>
              <a:gd name="T33" fmla="*/ 920 h 1680"/>
              <a:gd name="T34" fmla="*/ 1040 w 2080"/>
              <a:gd name="T35" fmla="*/ 1200 h 1680"/>
              <a:gd name="T36" fmla="*/ 1040 w 2080"/>
              <a:gd name="T37" fmla="*/ 1280 h 1680"/>
              <a:gd name="T38" fmla="*/ 1400 w 2080"/>
              <a:gd name="T39" fmla="*/ 920 h 1680"/>
              <a:gd name="T40" fmla="*/ 800 w 2080"/>
              <a:gd name="T41" fmla="*/ 160 h 1680"/>
              <a:gd name="T42" fmla="*/ 800 w 2080"/>
              <a:gd name="T43" fmla="*/ 240 h 1680"/>
              <a:gd name="T44" fmla="*/ 1280 w 2080"/>
              <a:gd name="T45" fmla="*/ 240 h 1680"/>
              <a:gd name="T46" fmla="*/ 1280 w 2080"/>
              <a:gd name="T47" fmla="*/ 160 h 1680"/>
              <a:gd name="T48" fmla="*/ 800 w 2080"/>
              <a:gd name="T49" fmla="*/ 160 h 1680"/>
              <a:gd name="T50" fmla="*/ 1760 w 2080"/>
              <a:gd name="T51" fmla="*/ 440 h 1680"/>
              <a:gd name="T52" fmla="*/ 1640 w 2080"/>
              <a:gd name="T53" fmla="*/ 560 h 1680"/>
              <a:gd name="T54" fmla="*/ 1760 w 2080"/>
              <a:gd name="T55" fmla="*/ 680 h 1680"/>
              <a:gd name="T56" fmla="*/ 1880 w 2080"/>
              <a:gd name="T57" fmla="*/ 560 h 1680"/>
              <a:gd name="T58" fmla="*/ 1760 w 2080"/>
              <a:gd name="T59" fmla="*/ 440 h 1680"/>
              <a:gd name="T60" fmla="*/ 1040 w 2080"/>
              <a:gd name="T61" fmla="*/ 400 h 1680"/>
              <a:gd name="T62" fmla="*/ 520 w 2080"/>
              <a:gd name="T63" fmla="*/ 920 h 1680"/>
              <a:gd name="T64" fmla="*/ 1040 w 2080"/>
              <a:gd name="T65" fmla="*/ 1440 h 1680"/>
              <a:gd name="T66" fmla="*/ 1560 w 2080"/>
              <a:gd name="T67" fmla="*/ 920 h 1680"/>
              <a:gd name="T68" fmla="*/ 1040 w 2080"/>
              <a:gd name="T69" fmla="*/ 400 h 1680"/>
              <a:gd name="T70" fmla="*/ 1040 w 2080"/>
              <a:gd name="T71" fmla="*/ 480 h 1680"/>
              <a:gd name="T72" fmla="*/ 1480 w 2080"/>
              <a:gd name="T73" fmla="*/ 920 h 1680"/>
              <a:gd name="T74" fmla="*/ 1040 w 2080"/>
              <a:gd name="T75" fmla="*/ 1360 h 1680"/>
              <a:gd name="T76" fmla="*/ 600 w 2080"/>
              <a:gd name="T77" fmla="*/ 920 h 1680"/>
              <a:gd name="T78" fmla="*/ 1040 w 2080"/>
              <a:gd name="T79" fmla="*/ 480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080" h="1680">
                <a:moveTo>
                  <a:pt x="560" y="240"/>
                </a:moveTo>
                <a:cubicBezTo>
                  <a:pt x="604" y="240"/>
                  <a:pt x="640" y="204"/>
                  <a:pt x="640" y="160"/>
                </a:cubicBezTo>
                <a:cubicBezTo>
                  <a:pt x="640" y="72"/>
                  <a:pt x="712" y="0"/>
                  <a:pt x="800" y="0"/>
                </a:cubicBezTo>
                <a:cubicBezTo>
                  <a:pt x="1280" y="0"/>
                  <a:pt x="1280" y="0"/>
                  <a:pt x="1280" y="0"/>
                </a:cubicBezTo>
                <a:cubicBezTo>
                  <a:pt x="1368" y="0"/>
                  <a:pt x="1440" y="72"/>
                  <a:pt x="1440" y="160"/>
                </a:cubicBezTo>
                <a:cubicBezTo>
                  <a:pt x="1440" y="204"/>
                  <a:pt x="1476" y="240"/>
                  <a:pt x="1520" y="240"/>
                </a:cubicBezTo>
                <a:cubicBezTo>
                  <a:pt x="1920" y="240"/>
                  <a:pt x="1920" y="240"/>
                  <a:pt x="1920" y="240"/>
                </a:cubicBezTo>
                <a:cubicBezTo>
                  <a:pt x="2008" y="240"/>
                  <a:pt x="2080" y="312"/>
                  <a:pt x="2080" y="400"/>
                </a:cubicBezTo>
                <a:cubicBezTo>
                  <a:pt x="2080" y="1520"/>
                  <a:pt x="2080" y="1520"/>
                  <a:pt x="2080" y="1520"/>
                </a:cubicBezTo>
                <a:cubicBezTo>
                  <a:pt x="2080" y="1608"/>
                  <a:pt x="2008" y="1680"/>
                  <a:pt x="1920" y="1680"/>
                </a:cubicBezTo>
                <a:cubicBezTo>
                  <a:pt x="160" y="1680"/>
                  <a:pt x="160" y="1680"/>
                  <a:pt x="160" y="1680"/>
                </a:cubicBezTo>
                <a:cubicBezTo>
                  <a:pt x="72" y="1680"/>
                  <a:pt x="0" y="1608"/>
                  <a:pt x="0" y="1520"/>
                </a:cubicBezTo>
                <a:cubicBezTo>
                  <a:pt x="0" y="400"/>
                  <a:pt x="0" y="400"/>
                  <a:pt x="0" y="400"/>
                </a:cubicBezTo>
                <a:cubicBezTo>
                  <a:pt x="0" y="312"/>
                  <a:pt x="72" y="240"/>
                  <a:pt x="160" y="240"/>
                </a:cubicBezTo>
                <a:lnTo>
                  <a:pt x="560" y="240"/>
                </a:lnTo>
                <a:close/>
                <a:moveTo>
                  <a:pt x="1400" y="920"/>
                </a:moveTo>
                <a:cubicBezTo>
                  <a:pt x="1320" y="920"/>
                  <a:pt x="1320" y="920"/>
                  <a:pt x="1320" y="920"/>
                </a:cubicBezTo>
                <a:cubicBezTo>
                  <a:pt x="1320" y="1075"/>
                  <a:pt x="1195" y="1200"/>
                  <a:pt x="1040" y="1200"/>
                </a:cubicBezTo>
                <a:cubicBezTo>
                  <a:pt x="1040" y="1280"/>
                  <a:pt x="1040" y="1280"/>
                  <a:pt x="1040" y="1280"/>
                </a:cubicBezTo>
                <a:cubicBezTo>
                  <a:pt x="1239" y="1280"/>
                  <a:pt x="1400" y="1119"/>
                  <a:pt x="1400" y="920"/>
                </a:cubicBezTo>
                <a:close/>
                <a:moveTo>
                  <a:pt x="800" y="160"/>
                </a:moveTo>
                <a:cubicBezTo>
                  <a:pt x="800" y="240"/>
                  <a:pt x="800" y="240"/>
                  <a:pt x="800" y="240"/>
                </a:cubicBezTo>
                <a:cubicBezTo>
                  <a:pt x="1280" y="240"/>
                  <a:pt x="1280" y="240"/>
                  <a:pt x="1280" y="240"/>
                </a:cubicBezTo>
                <a:cubicBezTo>
                  <a:pt x="1280" y="160"/>
                  <a:pt x="1280" y="160"/>
                  <a:pt x="1280" y="160"/>
                </a:cubicBezTo>
                <a:lnTo>
                  <a:pt x="800" y="160"/>
                </a:lnTo>
                <a:close/>
                <a:moveTo>
                  <a:pt x="1760" y="440"/>
                </a:moveTo>
                <a:cubicBezTo>
                  <a:pt x="1694" y="440"/>
                  <a:pt x="1640" y="494"/>
                  <a:pt x="1640" y="560"/>
                </a:cubicBezTo>
                <a:cubicBezTo>
                  <a:pt x="1640" y="626"/>
                  <a:pt x="1694" y="680"/>
                  <a:pt x="1760" y="680"/>
                </a:cubicBezTo>
                <a:cubicBezTo>
                  <a:pt x="1826" y="680"/>
                  <a:pt x="1880" y="626"/>
                  <a:pt x="1880" y="560"/>
                </a:cubicBezTo>
                <a:cubicBezTo>
                  <a:pt x="1880" y="494"/>
                  <a:pt x="1826" y="440"/>
                  <a:pt x="1760" y="440"/>
                </a:cubicBezTo>
                <a:close/>
                <a:moveTo>
                  <a:pt x="1040" y="400"/>
                </a:moveTo>
                <a:cubicBezTo>
                  <a:pt x="753" y="400"/>
                  <a:pt x="520" y="633"/>
                  <a:pt x="520" y="920"/>
                </a:cubicBezTo>
                <a:cubicBezTo>
                  <a:pt x="520" y="1207"/>
                  <a:pt x="753" y="1440"/>
                  <a:pt x="1040" y="1440"/>
                </a:cubicBezTo>
                <a:cubicBezTo>
                  <a:pt x="1327" y="1440"/>
                  <a:pt x="1560" y="1207"/>
                  <a:pt x="1560" y="920"/>
                </a:cubicBezTo>
                <a:cubicBezTo>
                  <a:pt x="1560" y="633"/>
                  <a:pt x="1327" y="400"/>
                  <a:pt x="1040" y="400"/>
                </a:cubicBezTo>
                <a:close/>
                <a:moveTo>
                  <a:pt x="1040" y="480"/>
                </a:moveTo>
                <a:cubicBezTo>
                  <a:pt x="1283" y="480"/>
                  <a:pt x="1480" y="677"/>
                  <a:pt x="1480" y="920"/>
                </a:cubicBezTo>
                <a:cubicBezTo>
                  <a:pt x="1480" y="1163"/>
                  <a:pt x="1283" y="1360"/>
                  <a:pt x="1040" y="1360"/>
                </a:cubicBezTo>
                <a:cubicBezTo>
                  <a:pt x="797" y="1360"/>
                  <a:pt x="600" y="1163"/>
                  <a:pt x="600" y="920"/>
                </a:cubicBezTo>
                <a:cubicBezTo>
                  <a:pt x="600" y="677"/>
                  <a:pt x="797" y="480"/>
                  <a:pt x="1040" y="48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91384" tIns="45692" rIns="91384" bIns="45692"/>
          <a:lstStyle/>
          <a:p>
            <a:pPr>
              <a:defRPr/>
            </a:pPr>
            <a:endParaRPr lang="en-US" sz="1798" dirty="0"/>
          </a:p>
        </p:txBody>
      </p:sp>
      <p:sp>
        <p:nvSpPr>
          <p:cNvPr id="25651" name="Freeform 112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7481946" y="1063484"/>
            <a:ext cx="269748" cy="369291"/>
          </a:xfrm>
          <a:custGeom>
            <a:avLst/>
            <a:gdLst>
              <a:gd name="T0" fmla="*/ 2147483647 w 1520"/>
              <a:gd name="T1" fmla="*/ 2147483647 h 2080"/>
              <a:gd name="T2" fmla="*/ 2147483647 w 1520"/>
              <a:gd name="T3" fmla="*/ 2147483647 h 2080"/>
              <a:gd name="T4" fmla="*/ 2147483647 w 1520"/>
              <a:gd name="T5" fmla="*/ 2147483647 h 2080"/>
              <a:gd name="T6" fmla="*/ 2147483647 w 1520"/>
              <a:gd name="T7" fmla="*/ 2147483647 h 2080"/>
              <a:gd name="T8" fmla="*/ 2147483647 w 1520"/>
              <a:gd name="T9" fmla="*/ 2147483647 h 2080"/>
              <a:gd name="T10" fmla="*/ 2147483647 w 1520"/>
              <a:gd name="T11" fmla="*/ 0 h 2080"/>
              <a:gd name="T12" fmla="*/ 2147483647 w 1520"/>
              <a:gd name="T13" fmla="*/ 0 h 2080"/>
              <a:gd name="T14" fmla="*/ 2147483647 w 1520"/>
              <a:gd name="T15" fmla="*/ 2147483647 h 2080"/>
              <a:gd name="T16" fmla="*/ 2147483647 w 1520"/>
              <a:gd name="T17" fmla="*/ 2147483647 h 2080"/>
              <a:gd name="T18" fmla="*/ 2147483647 w 1520"/>
              <a:gd name="T19" fmla="*/ 0 h 2080"/>
              <a:gd name="T20" fmla="*/ 2147483647 w 1520"/>
              <a:gd name="T21" fmla="*/ 0 h 2080"/>
              <a:gd name="T22" fmla="*/ 0 w 1520"/>
              <a:gd name="T23" fmla="*/ 0 h 2080"/>
              <a:gd name="T24" fmla="*/ 0 w 1520"/>
              <a:gd name="T25" fmla="*/ 2147483647 h 2080"/>
              <a:gd name="T26" fmla="*/ 2147483647 w 1520"/>
              <a:gd name="T27" fmla="*/ 2147483647 h 2080"/>
              <a:gd name="T28" fmla="*/ 2147483647 w 1520"/>
              <a:gd name="T29" fmla="*/ 0 h 2080"/>
              <a:gd name="T30" fmla="*/ 0 w 1520"/>
              <a:gd name="T31" fmla="*/ 2147483647 h 2080"/>
              <a:gd name="T32" fmla="*/ 0 w 1520"/>
              <a:gd name="T33" fmla="*/ 2147483647 h 2080"/>
              <a:gd name="T34" fmla="*/ 2147483647 w 1520"/>
              <a:gd name="T35" fmla="*/ 2147483647 h 2080"/>
              <a:gd name="T36" fmla="*/ 2147483647 w 1520"/>
              <a:gd name="T37" fmla="*/ 2147483647 h 2080"/>
              <a:gd name="T38" fmla="*/ 0 w 1520"/>
              <a:gd name="T39" fmla="*/ 2147483647 h 2080"/>
              <a:gd name="T40" fmla="*/ 2147483647 w 1520"/>
              <a:gd name="T41" fmla="*/ 2147483647 h 2080"/>
              <a:gd name="T42" fmla="*/ 2147483647 w 1520"/>
              <a:gd name="T43" fmla="*/ 2147483647 h 2080"/>
              <a:gd name="T44" fmla="*/ 2147483647 w 1520"/>
              <a:gd name="T45" fmla="*/ 2147483647 h 2080"/>
              <a:gd name="T46" fmla="*/ 2147483647 w 1520"/>
              <a:gd name="T47" fmla="*/ 2147483647 h 2080"/>
              <a:gd name="T48" fmla="*/ 2147483647 w 1520"/>
              <a:gd name="T49" fmla="*/ 2147483647 h 2080"/>
              <a:gd name="T50" fmla="*/ 2147483647 w 1520"/>
              <a:gd name="T51" fmla="*/ 2147483647 h 2080"/>
              <a:gd name="T52" fmla="*/ 2147483647 w 1520"/>
              <a:gd name="T53" fmla="*/ 2147483647 h 2080"/>
              <a:gd name="T54" fmla="*/ 2147483647 w 1520"/>
              <a:gd name="T55" fmla="*/ 2147483647 h 2080"/>
              <a:gd name="T56" fmla="*/ 2147483647 w 1520"/>
              <a:gd name="T57" fmla="*/ 2147483647 h 2080"/>
              <a:gd name="T58" fmla="*/ 2147483647 w 1520"/>
              <a:gd name="T59" fmla="*/ 2147483647 h 2080"/>
              <a:gd name="T60" fmla="*/ 2147483647 w 1520"/>
              <a:gd name="T61" fmla="*/ 2147483647 h 2080"/>
              <a:gd name="T62" fmla="*/ 2147483647 w 1520"/>
              <a:gd name="T63" fmla="*/ 2147483647 h 2080"/>
              <a:gd name="T64" fmla="*/ 2147483647 w 1520"/>
              <a:gd name="T65" fmla="*/ 2147483647 h 2080"/>
              <a:gd name="T66" fmla="*/ 2147483647 w 1520"/>
              <a:gd name="T67" fmla="*/ 2147483647 h 2080"/>
              <a:gd name="T68" fmla="*/ 2147483647 w 1520"/>
              <a:gd name="T69" fmla="*/ 2147483647 h 2080"/>
              <a:gd name="T70" fmla="*/ 2147483647 w 1520"/>
              <a:gd name="T71" fmla="*/ 2147483647 h 2080"/>
              <a:gd name="T72" fmla="*/ 2147483647 w 1520"/>
              <a:gd name="T73" fmla="*/ 2147483647 h 2080"/>
              <a:gd name="T74" fmla="*/ 2147483647 w 1520"/>
              <a:gd name="T75" fmla="*/ 2147483647 h 2080"/>
              <a:gd name="T76" fmla="*/ 2147483647 w 1520"/>
              <a:gd name="T77" fmla="*/ 2147483647 h 2080"/>
              <a:gd name="T78" fmla="*/ 2147483647 w 1520"/>
              <a:gd name="T79" fmla="*/ 2147483647 h 2080"/>
              <a:gd name="T80" fmla="*/ 2147483647 w 1520"/>
              <a:gd name="T81" fmla="*/ 2147483647 h 2080"/>
              <a:gd name="T82" fmla="*/ 2147483647 w 1520"/>
              <a:gd name="T83" fmla="*/ 2147483647 h 2080"/>
              <a:gd name="T84" fmla="*/ 2147483647 w 1520"/>
              <a:gd name="T85" fmla="*/ 2147483647 h 2080"/>
              <a:gd name="T86" fmla="*/ 2147483647 w 1520"/>
              <a:gd name="T87" fmla="*/ 2147483647 h 2080"/>
              <a:gd name="T88" fmla="*/ 2147483647 w 1520"/>
              <a:gd name="T89" fmla="*/ 2147483647 h 208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520" h="2080">
                <a:moveTo>
                  <a:pt x="1080" y="140"/>
                </a:moveTo>
                <a:cubicBezTo>
                  <a:pt x="1124" y="140"/>
                  <a:pt x="1160" y="176"/>
                  <a:pt x="1160" y="220"/>
                </a:cubicBezTo>
                <a:cubicBezTo>
                  <a:pt x="1160" y="264"/>
                  <a:pt x="1124" y="300"/>
                  <a:pt x="1080" y="300"/>
                </a:cubicBezTo>
                <a:cubicBezTo>
                  <a:pt x="1036" y="300"/>
                  <a:pt x="1000" y="264"/>
                  <a:pt x="1000" y="220"/>
                </a:cubicBezTo>
                <a:cubicBezTo>
                  <a:pt x="1000" y="176"/>
                  <a:pt x="1036" y="140"/>
                  <a:pt x="1080" y="140"/>
                </a:cubicBezTo>
                <a:close/>
                <a:moveTo>
                  <a:pt x="1520" y="0"/>
                </a:moveTo>
                <a:cubicBezTo>
                  <a:pt x="520" y="0"/>
                  <a:pt x="520" y="0"/>
                  <a:pt x="520" y="0"/>
                </a:cubicBezTo>
                <a:cubicBezTo>
                  <a:pt x="520" y="360"/>
                  <a:pt x="520" y="360"/>
                  <a:pt x="520" y="360"/>
                </a:cubicBezTo>
                <a:cubicBezTo>
                  <a:pt x="1520" y="360"/>
                  <a:pt x="1520" y="360"/>
                  <a:pt x="1520" y="360"/>
                </a:cubicBezTo>
                <a:lnTo>
                  <a:pt x="1520" y="0"/>
                </a:lnTo>
                <a:close/>
                <a:moveTo>
                  <a:pt x="44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60"/>
                  <a:pt x="0" y="360"/>
                  <a:pt x="0" y="360"/>
                </a:cubicBezTo>
                <a:cubicBezTo>
                  <a:pt x="440" y="360"/>
                  <a:pt x="440" y="360"/>
                  <a:pt x="440" y="360"/>
                </a:cubicBezTo>
                <a:lnTo>
                  <a:pt x="440" y="0"/>
                </a:lnTo>
                <a:close/>
                <a:moveTo>
                  <a:pt x="0" y="440"/>
                </a:moveTo>
                <a:cubicBezTo>
                  <a:pt x="0" y="2080"/>
                  <a:pt x="0" y="2080"/>
                  <a:pt x="0" y="2080"/>
                </a:cubicBezTo>
                <a:cubicBezTo>
                  <a:pt x="1520" y="2080"/>
                  <a:pt x="1520" y="2080"/>
                  <a:pt x="1520" y="2080"/>
                </a:cubicBezTo>
                <a:cubicBezTo>
                  <a:pt x="1520" y="440"/>
                  <a:pt x="1520" y="440"/>
                  <a:pt x="1520" y="440"/>
                </a:cubicBezTo>
                <a:lnTo>
                  <a:pt x="0" y="440"/>
                </a:lnTo>
                <a:close/>
                <a:moveTo>
                  <a:pt x="1320" y="1240"/>
                </a:moveTo>
                <a:cubicBezTo>
                  <a:pt x="1320" y="1549"/>
                  <a:pt x="1069" y="1800"/>
                  <a:pt x="760" y="1800"/>
                </a:cubicBezTo>
                <a:cubicBezTo>
                  <a:pt x="451" y="1800"/>
                  <a:pt x="200" y="1549"/>
                  <a:pt x="200" y="1240"/>
                </a:cubicBezTo>
                <a:cubicBezTo>
                  <a:pt x="200" y="931"/>
                  <a:pt x="451" y="680"/>
                  <a:pt x="760" y="680"/>
                </a:cubicBezTo>
                <a:cubicBezTo>
                  <a:pt x="1069" y="680"/>
                  <a:pt x="1320" y="931"/>
                  <a:pt x="1320" y="1240"/>
                </a:cubicBezTo>
                <a:close/>
                <a:moveTo>
                  <a:pt x="760" y="760"/>
                </a:moveTo>
                <a:cubicBezTo>
                  <a:pt x="495" y="760"/>
                  <a:pt x="280" y="975"/>
                  <a:pt x="280" y="1240"/>
                </a:cubicBezTo>
                <a:cubicBezTo>
                  <a:pt x="280" y="1505"/>
                  <a:pt x="495" y="1720"/>
                  <a:pt x="760" y="1720"/>
                </a:cubicBezTo>
                <a:cubicBezTo>
                  <a:pt x="1025" y="1720"/>
                  <a:pt x="1240" y="1505"/>
                  <a:pt x="1240" y="1240"/>
                </a:cubicBezTo>
                <a:cubicBezTo>
                  <a:pt x="1240" y="975"/>
                  <a:pt x="1025" y="760"/>
                  <a:pt x="760" y="760"/>
                </a:cubicBezTo>
                <a:close/>
                <a:moveTo>
                  <a:pt x="1160" y="1240"/>
                </a:moveTo>
                <a:cubicBezTo>
                  <a:pt x="1160" y="1461"/>
                  <a:pt x="981" y="1640"/>
                  <a:pt x="760" y="1640"/>
                </a:cubicBezTo>
                <a:cubicBezTo>
                  <a:pt x="539" y="1640"/>
                  <a:pt x="360" y="1461"/>
                  <a:pt x="360" y="1240"/>
                </a:cubicBezTo>
                <a:cubicBezTo>
                  <a:pt x="360" y="1019"/>
                  <a:pt x="539" y="840"/>
                  <a:pt x="760" y="840"/>
                </a:cubicBezTo>
                <a:cubicBezTo>
                  <a:pt x="981" y="840"/>
                  <a:pt x="1160" y="1019"/>
                  <a:pt x="1160" y="1240"/>
                </a:cubicBezTo>
                <a:close/>
                <a:moveTo>
                  <a:pt x="1080" y="1240"/>
                </a:moveTo>
                <a:cubicBezTo>
                  <a:pt x="1080" y="1063"/>
                  <a:pt x="937" y="920"/>
                  <a:pt x="760" y="920"/>
                </a:cubicBezTo>
                <a:cubicBezTo>
                  <a:pt x="583" y="920"/>
                  <a:pt x="440" y="1063"/>
                  <a:pt x="440" y="1240"/>
                </a:cubicBezTo>
                <a:cubicBezTo>
                  <a:pt x="440" y="1417"/>
                  <a:pt x="583" y="1560"/>
                  <a:pt x="760" y="1560"/>
                </a:cubicBezTo>
                <a:cubicBezTo>
                  <a:pt x="937" y="1560"/>
                  <a:pt x="1080" y="1417"/>
                  <a:pt x="1080" y="1240"/>
                </a:cubicBezTo>
                <a:close/>
                <a:moveTo>
                  <a:pt x="1280" y="140"/>
                </a:moveTo>
                <a:cubicBezTo>
                  <a:pt x="1324" y="140"/>
                  <a:pt x="1360" y="176"/>
                  <a:pt x="1360" y="220"/>
                </a:cubicBezTo>
                <a:cubicBezTo>
                  <a:pt x="1360" y="264"/>
                  <a:pt x="1324" y="300"/>
                  <a:pt x="1280" y="300"/>
                </a:cubicBezTo>
                <a:cubicBezTo>
                  <a:pt x="1236" y="300"/>
                  <a:pt x="1200" y="264"/>
                  <a:pt x="1200" y="220"/>
                </a:cubicBezTo>
                <a:cubicBezTo>
                  <a:pt x="1200" y="176"/>
                  <a:pt x="1236" y="140"/>
                  <a:pt x="1280" y="14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84" tIns="45692" rIns="91384" bIns="45692"/>
          <a:lstStyle/>
          <a:p>
            <a:endParaRPr lang="en-US"/>
          </a:p>
        </p:txBody>
      </p:sp>
      <p:sp>
        <p:nvSpPr>
          <p:cNvPr id="25652" name="Freeform 75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6120203" y="887502"/>
            <a:ext cx="372960" cy="305793"/>
          </a:xfrm>
          <a:custGeom>
            <a:avLst/>
            <a:gdLst>
              <a:gd name="T0" fmla="*/ 2147483647 w 2187"/>
              <a:gd name="T1" fmla="*/ 2147483647 h 1565"/>
              <a:gd name="T2" fmla="*/ 2147483647 w 2187"/>
              <a:gd name="T3" fmla="*/ 2147483647 h 1565"/>
              <a:gd name="T4" fmla="*/ 2147483647 w 2187"/>
              <a:gd name="T5" fmla="*/ 2147483647 h 1565"/>
              <a:gd name="T6" fmla="*/ 2147483647 w 2187"/>
              <a:gd name="T7" fmla="*/ 2147483647 h 1565"/>
              <a:gd name="T8" fmla="*/ 2147483647 w 2187"/>
              <a:gd name="T9" fmla="*/ 2147483647 h 1565"/>
              <a:gd name="T10" fmla="*/ 2147483647 w 2187"/>
              <a:gd name="T11" fmla="*/ 2147483647 h 1565"/>
              <a:gd name="T12" fmla="*/ 2147483647 w 2187"/>
              <a:gd name="T13" fmla="*/ 2147483647 h 1565"/>
              <a:gd name="T14" fmla="*/ 2147483647 w 2187"/>
              <a:gd name="T15" fmla="*/ 2147483647 h 1565"/>
              <a:gd name="T16" fmla="*/ 2147483647 w 2187"/>
              <a:gd name="T17" fmla="*/ 2147483647 h 1565"/>
              <a:gd name="T18" fmla="*/ 2147483647 w 2187"/>
              <a:gd name="T19" fmla="*/ 2147483647 h 1565"/>
              <a:gd name="T20" fmla="*/ 2147483647 w 2187"/>
              <a:gd name="T21" fmla="*/ 2147483647 h 1565"/>
              <a:gd name="T22" fmla="*/ 2147483647 w 2187"/>
              <a:gd name="T23" fmla="*/ 2147483647 h 1565"/>
              <a:gd name="T24" fmla="*/ 2147483647 w 2187"/>
              <a:gd name="T25" fmla="*/ 2147483647 h 1565"/>
              <a:gd name="T26" fmla="*/ 0 w 2187"/>
              <a:gd name="T27" fmla="*/ 2147483647 h 1565"/>
              <a:gd name="T28" fmla="*/ 2147483647 w 2187"/>
              <a:gd name="T29" fmla="*/ 2147483647 h 1565"/>
              <a:gd name="T30" fmla="*/ 2147483647 w 2187"/>
              <a:gd name="T31" fmla="*/ 2147483647 h 1565"/>
              <a:gd name="T32" fmla="*/ 2147483647 w 2187"/>
              <a:gd name="T33" fmla="*/ 2147483647 h 1565"/>
              <a:gd name="T34" fmla="*/ 2147483647 w 2187"/>
              <a:gd name="T35" fmla="*/ 2147483647 h 1565"/>
              <a:gd name="T36" fmla="*/ 2147483647 w 2187"/>
              <a:gd name="T37" fmla="*/ 2147483647 h 1565"/>
              <a:gd name="T38" fmla="*/ 2147483647 w 2187"/>
              <a:gd name="T39" fmla="*/ 2147483647 h 1565"/>
              <a:gd name="T40" fmla="*/ 2147483647 w 2187"/>
              <a:gd name="T41" fmla="*/ 2147483647 h 1565"/>
              <a:gd name="T42" fmla="*/ 2147483647 w 2187"/>
              <a:gd name="T43" fmla="*/ 2147483647 h 1565"/>
              <a:gd name="T44" fmla="*/ 2147483647 w 2187"/>
              <a:gd name="T45" fmla="*/ 2147483647 h 1565"/>
              <a:gd name="T46" fmla="*/ 2147483647 w 2187"/>
              <a:gd name="T47" fmla="*/ 2147483647 h 1565"/>
              <a:gd name="T48" fmla="*/ 0 w 2187"/>
              <a:gd name="T49" fmla="*/ 2147483647 h 1565"/>
              <a:gd name="T50" fmla="*/ 0 w 2187"/>
              <a:gd name="T51" fmla="*/ 2147483647 h 1565"/>
              <a:gd name="T52" fmla="*/ 0 w 2187"/>
              <a:gd name="T53" fmla="*/ 2147483647 h 1565"/>
              <a:gd name="T54" fmla="*/ 2147483647 w 2187"/>
              <a:gd name="T55" fmla="*/ 2147483647 h 1565"/>
              <a:gd name="T56" fmla="*/ 2147483647 w 2187"/>
              <a:gd name="T57" fmla="*/ 2147483647 h 1565"/>
              <a:gd name="T58" fmla="*/ 2147483647 w 2187"/>
              <a:gd name="T59" fmla="*/ 2147483647 h 1565"/>
              <a:gd name="T60" fmla="*/ 2147483647 w 2187"/>
              <a:gd name="T61" fmla="*/ 2147483647 h 1565"/>
              <a:gd name="T62" fmla="*/ 2147483647 w 2187"/>
              <a:gd name="T63" fmla="*/ 2147483647 h 1565"/>
              <a:gd name="T64" fmla="*/ 2147483647 w 2187"/>
              <a:gd name="T65" fmla="*/ 2147483647 h 1565"/>
              <a:gd name="T66" fmla="*/ 2147483647 w 2187"/>
              <a:gd name="T67" fmla="*/ 2147483647 h 1565"/>
              <a:gd name="T68" fmla="*/ 2147483647 w 2187"/>
              <a:gd name="T69" fmla="*/ 2147483647 h 1565"/>
              <a:gd name="T70" fmla="*/ 2147483647 w 2187"/>
              <a:gd name="T71" fmla="*/ 2147483647 h 1565"/>
              <a:gd name="T72" fmla="*/ 2147483647 w 2187"/>
              <a:gd name="T73" fmla="*/ 2147483647 h 1565"/>
              <a:gd name="T74" fmla="*/ 0 w 2187"/>
              <a:gd name="T75" fmla="*/ 2147483647 h 1565"/>
              <a:gd name="T76" fmla="*/ 0 w 2187"/>
              <a:gd name="T77" fmla="*/ 2147483647 h 1565"/>
              <a:gd name="T78" fmla="*/ 0 w 2187"/>
              <a:gd name="T79" fmla="*/ 2147483647 h 1565"/>
              <a:gd name="T80" fmla="*/ 2147483647 w 2187"/>
              <a:gd name="T81" fmla="*/ 2147483647 h 1565"/>
              <a:gd name="T82" fmla="*/ 2147483647 w 2187"/>
              <a:gd name="T83" fmla="*/ 2147483647 h 1565"/>
              <a:gd name="T84" fmla="*/ 2147483647 w 2187"/>
              <a:gd name="T85" fmla="*/ 2147483647 h 1565"/>
              <a:gd name="T86" fmla="*/ 2147483647 w 2187"/>
              <a:gd name="T87" fmla="*/ 2147483647 h 1565"/>
              <a:gd name="T88" fmla="*/ 2147483647 w 2187"/>
              <a:gd name="T89" fmla="*/ 2147483647 h 1565"/>
              <a:gd name="T90" fmla="*/ 2147483647 w 2187"/>
              <a:gd name="T91" fmla="*/ 2147483647 h 1565"/>
              <a:gd name="T92" fmla="*/ 2147483647 w 2187"/>
              <a:gd name="T93" fmla="*/ 2147483647 h 1565"/>
              <a:gd name="T94" fmla="*/ 2147483647 w 2187"/>
              <a:gd name="T95" fmla="*/ 2147483647 h 1565"/>
              <a:gd name="T96" fmla="*/ 2147483647 w 2187"/>
              <a:gd name="T97" fmla="*/ 2147483647 h 1565"/>
              <a:gd name="T98" fmla="*/ 2147483647 w 2187"/>
              <a:gd name="T99" fmla="*/ 2147483647 h 1565"/>
              <a:gd name="T100" fmla="*/ 0 w 2187"/>
              <a:gd name="T101" fmla="*/ 2147483647 h 1565"/>
              <a:gd name="T102" fmla="*/ 0 w 2187"/>
              <a:gd name="T103" fmla="*/ 2147483647 h 1565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2187" h="1565">
                <a:moveTo>
                  <a:pt x="2121" y="628"/>
                </a:moveTo>
                <a:cubicBezTo>
                  <a:pt x="2080" y="692"/>
                  <a:pt x="2021" y="743"/>
                  <a:pt x="1952" y="775"/>
                </a:cubicBezTo>
                <a:cubicBezTo>
                  <a:pt x="1934" y="784"/>
                  <a:pt x="1922" y="795"/>
                  <a:pt x="1914" y="813"/>
                </a:cubicBezTo>
                <a:cubicBezTo>
                  <a:pt x="1686" y="1335"/>
                  <a:pt x="1686" y="1335"/>
                  <a:pt x="1686" y="1335"/>
                </a:cubicBezTo>
                <a:cubicBezTo>
                  <a:pt x="1616" y="1495"/>
                  <a:pt x="1441" y="1565"/>
                  <a:pt x="1279" y="1509"/>
                </a:cubicBezTo>
                <a:cubicBezTo>
                  <a:pt x="1192" y="1479"/>
                  <a:pt x="1108" y="1402"/>
                  <a:pt x="1151" y="1303"/>
                </a:cubicBezTo>
                <a:cubicBezTo>
                  <a:pt x="1378" y="785"/>
                  <a:pt x="1378" y="785"/>
                  <a:pt x="1378" y="785"/>
                </a:cubicBezTo>
                <a:cubicBezTo>
                  <a:pt x="840" y="735"/>
                  <a:pt x="840" y="735"/>
                  <a:pt x="840" y="735"/>
                </a:cubicBezTo>
                <a:cubicBezTo>
                  <a:pt x="840" y="76"/>
                  <a:pt x="840" y="76"/>
                  <a:pt x="840" y="76"/>
                </a:cubicBezTo>
                <a:cubicBezTo>
                  <a:pt x="1724" y="9"/>
                  <a:pt x="1724" y="9"/>
                  <a:pt x="1724" y="9"/>
                </a:cubicBezTo>
                <a:cubicBezTo>
                  <a:pt x="1840" y="0"/>
                  <a:pt x="1956" y="33"/>
                  <a:pt x="2045" y="109"/>
                </a:cubicBezTo>
                <a:cubicBezTo>
                  <a:pt x="2121" y="174"/>
                  <a:pt x="2172" y="267"/>
                  <a:pt x="2180" y="379"/>
                </a:cubicBezTo>
                <a:cubicBezTo>
                  <a:pt x="2187" y="466"/>
                  <a:pt x="2168" y="553"/>
                  <a:pt x="2121" y="628"/>
                </a:cubicBezTo>
                <a:close/>
                <a:moveTo>
                  <a:pt x="0" y="635"/>
                </a:moveTo>
                <a:cubicBezTo>
                  <a:pt x="9" y="638"/>
                  <a:pt x="18" y="640"/>
                  <a:pt x="27" y="640"/>
                </a:cubicBezTo>
                <a:cubicBezTo>
                  <a:pt x="90" y="640"/>
                  <a:pt x="164" y="553"/>
                  <a:pt x="253" y="553"/>
                </a:cubicBezTo>
                <a:cubicBezTo>
                  <a:pt x="342" y="553"/>
                  <a:pt x="416" y="640"/>
                  <a:pt x="480" y="640"/>
                </a:cubicBezTo>
                <a:cubicBezTo>
                  <a:pt x="544" y="640"/>
                  <a:pt x="618" y="553"/>
                  <a:pt x="707" y="553"/>
                </a:cubicBezTo>
                <a:cubicBezTo>
                  <a:pt x="725" y="553"/>
                  <a:pt x="743" y="557"/>
                  <a:pt x="760" y="562"/>
                </a:cubicBezTo>
                <a:cubicBezTo>
                  <a:pt x="760" y="649"/>
                  <a:pt x="760" y="649"/>
                  <a:pt x="760" y="649"/>
                </a:cubicBezTo>
                <a:cubicBezTo>
                  <a:pt x="741" y="640"/>
                  <a:pt x="723" y="633"/>
                  <a:pt x="707" y="633"/>
                </a:cubicBezTo>
                <a:cubicBezTo>
                  <a:pt x="643" y="633"/>
                  <a:pt x="569" y="720"/>
                  <a:pt x="480" y="720"/>
                </a:cubicBezTo>
                <a:cubicBezTo>
                  <a:pt x="391" y="720"/>
                  <a:pt x="317" y="633"/>
                  <a:pt x="253" y="633"/>
                </a:cubicBezTo>
                <a:cubicBezTo>
                  <a:pt x="190" y="633"/>
                  <a:pt x="116" y="720"/>
                  <a:pt x="27" y="720"/>
                </a:cubicBezTo>
                <a:cubicBezTo>
                  <a:pt x="18" y="720"/>
                  <a:pt x="9" y="719"/>
                  <a:pt x="0" y="717"/>
                </a:cubicBezTo>
                <a:lnTo>
                  <a:pt x="0" y="635"/>
                </a:lnTo>
                <a:close/>
                <a:moveTo>
                  <a:pt x="0" y="435"/>
                </a:moveTo>
                <a:cubicBezTo>
                  <a:pt x="9" y="438"/>
                  <a:pt x="18" y="440"/>
                  <a:pt x="27" y="440"/>
                </a:cubicBezTo>
                <a:cubicBezTo>
                  <a:pt x="90" y="440"/>
                  <a:pt x="164" y="353"/>
                  <a:pt x="253" y="353"/>
                </a:cubicBezTo>
                <a:cubicBezTo>
                  <a:pt x="342" y="353"/>
                  <a:pt x="416" y="440"/>
                  <a:pt x="480" y="440"/>
                </a:cubicBezTo>
                <a:cubicBezTo>
                  <a:pt x="544" y="440"/>
                  <a:pt x="618" y="353"/>
                  <a:pt x="707" y="353"/>
                </a:cubicBezTo>
                <a:cubicBezTo>
                  <a:pt x="725" y="353"/>
                  <a:pt x="743" y="357"/>
                  <a:pt x="760" y="362"/>
                </a:cubicBezTo>
                <a:cubicBezTo>
                  <a:pt x="760" y="449"/>
                  <a:pt x="760" y="449"/>
                  <a:pt x="760" y="449"/>
                </a:cubicBezTo>
                <a:cubicBezTo>
                  <a:pt x="741" y="440"/>
                  <a:pt x="723" y="433"/>
                  <a:pt x="707" y="433"/>
                </a:cubicBezTo>
                <a:cubicBezTo>
                  <a:pt x="643" y="433"/>
                  <a:pt x="569" y="520"/>
                  <a:pt x="480" y="520"/>
                </a:cubicBezTo>
                <a:cubicBezTo>
                  <a:pt x="391" y="520"/>
                  <a:pt x="317" y="433"/>
                  <a:pt x="253" y="433"/>
                </a:cubicBezTo>
                <a:cubicBezTo>
                  <a:pt x="190" y="433"/>
                  <a:pt x="116" y="520"/>
                  <a:pt x="27" y="520"/>
                </a:cubicBezTo>
                <a:cubicBezTo>
                  <a:pt x="18" y="520"/>
                  <a:pt x="9" y="519"/>
                  <a:pt x="0" y="517"/>
                </a:cubicBezTo>
                <a:lnTo>
                  <a:pt x="0" y="435"/>
                </a:lnTo>
                <a:close/>
                <a:moveTo>
                  <a:pt x="0" y="235"/>
                </a:moveTo>
                <a:cubicBezTo>
                  <a:pt x="9" y="238"/>
                  <a:pt x="18" y="240"/>
                  <a:pt x="27" y="240"/>
                </a:cubicBezTo>
                <a:cubicBezTo>
                  <a:pt x="90" y="240"/>
                  <a:pt x="164" y="153"/>
                  <a:pt x="253" y="153"/>
                </a:cubicBezTo>
                <a:cubicBezTo>
                  <a:pt x="342" y="153"/>
                  <a:pt x="416" y="240"/>
                  <a:pt x="480" y="240"/>
                </a:cubicBezTo>
                <a:cubicBezTo>
                  <a:pt x="544" y="240"/>
                  <a:pt x="618" y="153"/>
                  <a:pt x="707" y="153"/>
                </a:cubicBezTo>
                <a:cubicBezTo>
                  <a:pt x="725" y="153"/>
                  <a:pt x="743" y="157"/>
                  <a:pt x="760" y="162"/>
                </a:cubicBezTo>
                <a:cubicBezTo>
                  <a:pt x="760" y="249"/>
                  <a:pt x="760" y="249"/>
                  <a:pt x="760" y="249"/>
                </a:cubicBezTo>
                <a:cubicBezTo>
                  <a:pt x="741" y="240"/>
                  <a:pt x="723" y="233"/>
                  <a:pt x="707" y="233"/>
                </a:cubicBezTo>
                <a:cubicBezTo>
                  <a:pt x="643" y="233"/>
                  <a:pt x="569" y="320"/>
                  <a:pt x="480" y="320"/>
                </a:cubicBezTo>
                <a:cubicBezTo>
                  <a:pt x="391" y="320"/>
                  <a:pt x="317" y="233"/>
                  <a:pt x="253" y="233"/>
                </a:cubicBezTo>
                <a:cubicBezTo>
                  <a:pt x="190" y="233"/>
                  <a:pt x="116" y="320"/>
                  <a:pt x="27" y="320"/>
                </a:cubicBezTo>
                <a:cubicBezTo>
                  <a:pt x="18" y="320"/>
                  <a:pt x="9" y="319"/>
                  <a:pt x="0" y="317"/>
                </a:cubicBezTo>
                <a:lnTo>
                  <a:pt x="0" y="23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84" tIns="45692" rIns="91384" bIns="45692"/>
          <a:lstStyle/>
          <a:p>
            <a:endParaRPr lang="en-US"/>
          </a:p>
        </p:txBody>
      </p:sp>
      <p:cxnSp>
        <p:nvCxnSpPr>
          <p:cNvPr id="51" name="Straight Connector 50"/>
          <p:cNvCxnSpPr/>
          <p:nvPr/>
        </p:nvCxnSpPr>
        <p:spPr>
          <a:xfrm flipV="1">
            <a:off x="225822" y="3025325"/>
            <a:ext cx="8706756" cy="4799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Right Arrow 99"/>
          <p:cNvSpPr/>
          <p:nvPr/>
        </p:nvSpPr>
        <p:spPr bwMode="gray">
          <a:xfrm>
            <a:off x="6726334" y="2630801"/>
            <a:ext cx="377708" cy="142831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4" tIns="45692" rIns="91384" bIns="45692" anchor="ctr"/>
          <a:lstStyle/>
          <a:p>
            <a:pPr algn="ctr">
              <a:spcBef>
                <a:spcPts val="300"/>
              </a:spcBef>
              <a:defRPr/>
            </a:pPr>
            <a:endParaRPr lang="uk-UA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01" name="Right Arrow 100"/>
          <p:cNvSpPr/>
          <p:nvPr/>
        </p:nvSpPr>
        <p:spPr bwMode="gray">
          <a:xfrm>
            <a:off x="6726334" y="2803785"/>
            <a:ext cx="377708" cy="144418"/>
          </a:xfrm>
          <a:prstGeom prst="rightArrow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4" tIns="45692" rIns="91384" bIns="45692" anchor="ctr"/>
          <a:lstStyle/>
          <a:p>
            <a:pPr algn="ctr">
              <a:spcBef>
                <a:spcPts val="300"/>
              </a:spcBef>
              <a:defRPr/>
            </a:pPr>
            <a:endParaRPr lang="uk-UA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02" name="Rectangle 101"/>
          <p:cNvSpPr/>
          <p:nvPr/>
        </p:nvSpPr>
        <p:spPr bwMode="gray">
          <a:xfrm>
            <a:off x="7156607" y="2622025"/>
            <a:ext cx="1939965" cy="14869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4" tIns="45692" rIns="91384" bIns="45692" anchor="ctr"/>
          <a:lstStyle/>
          <a:p>
            <a:pPr>
              <a:spcBef>
                <a:spcPts val="300"/>
              </a:spcBef>
              <a:defRPr/>
            </a:pPr>
            <a:r>
              <a:rPr lang="uk-UA" sz="1100" dirty="0">
                <a:solidFill>
                  <a:schemeClr val="tx1"/>
                </a:solidFill>
                <a:cs typeface="Arial" pitchFamily="34" charset="0"/>
              </a:rPr>
              <a:t>Традиционные продажи</a:t>
            </a:r>
          </a:p>
        </p:txBody>
      </p:sp>
      <p:sp>
        <p:nvSpPr>
          <p:cNvPr id="103" name="Rectangle 102"/>
          <p:cNvSpPr/>
          <p:nvPr/>
        </p:nvSpPr>
        <p:spPr bwMode="gray">
          <a:xfrm>
            <a:off x="7164288" y="2794307"/>
            <a:ext cx="1942251" cy="15098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4" tIns="45692" rIns="91384" bIns="45692" anchor="ctr"/>
          <a:lstStyle/>
          <a:p>
            <a:pPr>
              <a:spcBef>
                <a:spcPts val="300"/>
              </a:spcBef>
              <a:defRPr/>
            </a:pPr>
            <a:r>
              <a:rPr lang="uk-UA" sz="1100" dirty="0">
                <a:solidFill>
                  <a:schemeClr val="tx1"/>
                </a:solidFill>
                <a:cs typeface="Arial" pitchFamily="34" charset="0"/>
              </a:rPr>
              <a:t>Интернет продажи</a:t>
            </a:r>
          </a:p>
        </p:txBody>
      </p:sp>
      <p:sp>
        <p:nvSpPr>
          <p:cNvPr id="25639" name="TextBox 1"/>
          <p:cNvSpPr txBox="1">
            <a:spLocks noChangeArrowheads="1"/>
          </p:cNvSpPr>
          <p:nvPr/>
        </p:nvSpPr>
        <p:spPr bwMode="auto">
          <a:xfrm>
            <a:off x="2094865" y="1761046"/>
            <a:ext cx="927698" cy="343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spcBef>
                <a:spcPts val="300"/>
              </a:spcBef>
            </a:pPr>
            <a:r>
              <a:rPr lang="ru-RU" altLang="uk-UA" sz="900" b="1" dirty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Information technology (IT)</a:t>
            </a:r>
            <a:endParaRPr lang="ru-RU" altLang="uk-UA" sz="900" b="1" dirty="0">
              <a:cs typeface="Arial" pitchFamily="34" charset="0"/>
            </a:endParaRPr>
          </a:p>
        </p:txBody>
      </p:sp>
      <p:cxnSp>
        <p:nvCxnSpPr>
          <p:cNvPr id="59" name="Straight Connector 58"/>
          <p:cNvCxnSpPr/>
          <p:nvPr/>
        </p:nvCxnSpPr>
        <p:spPr>
          <a:xfrm flipH="1">
            <a:off x="3627372" y="3172313"/>
            <a:ext cx="3772" cy="1803353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8" name="TextBox 4"/>
          <p:cNvSpPr txBox="1">
            <a:spLocks noChangeArrowheads="1"/>
          </p:cNvSpPr>
          <p:nvPr/>
        </p:nvSpPr>
        <p:spPr bwMode="auto">
          <a:xfrm>
            <a:off x="537640" y="4441921"/>
            <a:ext cx="3266058" cy="390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ts val="300"/>
              </a:spcBef>
            </a:pPr>
            <a:r>
              <a:rPr lang="en-GB" altLang="uk-UA" sz="1050" dirty="0">
                <a:solidFill>
                  <a:schemeClr val="bg2"/>
                </a:solidFill>
                <a:cs typeface="Arial" pitchFamily="34" charset="0"/>
              </a:rPr>
              <a:t>2011 </a:t>
            </a:r>
            <a:r>
              <a:rPr lang="ru-RU" altLang="uk-UA" sz="1050" dirty="0">
                <a:solidFill>
                  <a:schemeClr val="bg2"/>
                </a:solidFill>
                <a:cs typeface="Arial" pitchFamily="34" charset="0"/>
              </a:rPr>
              <a:t>     2012      2013     2014      2015   </a:t>
            </a:r>
            <a:r>
              <a:rPr lang="ru-RU" altLang="uk-UA" sz="1050" dirty="0" smtClean="0">
                <a:solidFill>
                  <a:schemeClr val="bg2"/>
                </a:solidFill>
                <a:cs typeface="Arial" pitchFamily="34" charset="0"/>
              </a:rPr>
              <a:t>  2016   </a:t>
            </a:r>
            <a:endParaRPr lang="ru-RU" altLang="uk-UA" sz="1050" dirty="0">
              <a:solidFill>
                <a:schemeClr val="bg2"/>
              </a:solidFill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en-GB" altLang="uk-UA" sz="1050" dirty="0">
                <a:solidFill>
                  <a:srgbClr val="1D8BFF"/>
                </a:solidFill>
                <a:cs typeface="Arial" pitchFamily="34" charset="0"/>
              </a:rPr>
              <a:t>13.7%  </a:t>
            </a:r>
            <a:r>
              <a:rPr lang="ru-RU" altLang="uk-UA" sz="1050" dirty="0">
                <a:solidFill>
                  <a:srgbClr val="1D8BFF"/>
                </a:solidFill>
                <a:cs typeface="Arial" pitchFamily="34" charset="0"/>
              </a:rPr>
              <a:t>  </a:t>
            </a:r>
            <a:r>
              <a:rPr lang="en-GB" altLang="uk-UA" sz="1050" dirty="0">
                <a:solidFill>
                  <a:srgbClr val="1D8BFF"/>
                </a:solidFill>
                <a:cs typeface="Arial" pitchFamily="34" charset="0"/>
              </a:rPr>
              <a:t>15.2% </a:t>
            </a:r>
            <a:r>
              <a:rPr lang="ru-RU" altLang="uk-UA" sz="1050" dirty="0">
                <a:solidFill>
                  <a:srgbClr val="1D8BFF"/>
                </a:solidFill>
                <a:cs typeface="Arial" pitchFamily="34" charset="0"/>
              </a:rPr>
              <a:t>  </a:t>
            </a:r>
            <a:r>
              <a:rPr lang="en-GB" altLang="uk-UA" sz="1050" dirty="0">
                <a:solidFill>
                  <a:srgbClr val="1D8BFF"/>
                </a:solidFill>
                <a:cs typeface="Arial" pitchFamily="34" charset="0"/>
              </a:rPr>
              <a:t>17.4% </a:t>
            </a:r>
            <a:r>
              <a:rPr lang="ru-RU" altLang="uk-UA" sz="1050" dirty="0">
                <a:solidFill>
                  <a:srgbClr val="1D8BFF"/>
                </a:solidFill>
                <a:cs typeface="Arial" pitchFamily="34" charset="0"/>
              </a:rPr>
              <a:t>  </a:t>
            </a:r>
            <a:r>
              <a:rPr lang="en-GB" altLang="uk-UA" sz="1050" dirty="0">
                <a:solidFill>
                  <a:srgbClr val="1D8BFF"/>
                </a:solidFill>
                <a:cs typeface="Arial" pitchFamily="34" charset="0"/>
              </a:rPr>
              <a:t>19.4%</a:t>
            </a:r>
            <a:r>
              <a:rPr lang="ru-RU" altLang="uk-UA" sz="1050" dirty="0">
                <a:solidFill>
                  <a:srgbClr val="1D8BFF"/>
                </a:solidFill>
                <a:cs typeface="Arial" pitchFamily="34" charset="0"/>
              </a:rPr>
              <a:t>   </a:t>
            </a:r>
            <a:r>
              <a:rPr lang="ru-RU" altLang="uk-UA" sz="1050" dirty="0" smtClean="0">
                <a:solidFill>
                  <a:srgbClr val="1D8BFF"/>
                </a:solidFill>
                <a:cs typeface="Arial" pitchFamily="34" charset="0"/>
              </a:rPr>
              <a:t> 21.9%    23%</a:t>
            </a:r>
            <a:endParaRPr lang="ru-RU" altLang="uk-UA" sz="1050" dirty="0">
              <a:solidFill>
                <a:srgbClr val="1D8BFF"/>
              </a:solidFill>
              <a:cs typeface="Arial" pitchFamily="34" charset="0"/>
            </a:endParaRPr>
          </a:p>
        </p:txBody>
      </p:sp>
      <p:sp>
        <p:nvSpPr>
          <p:cNvPr id="89" name="Rectangle 9"/>
          <p:cNvSpPr>
            <a:spLocks noChangeArrowheads="1"/>
          </p:cNvSpPr>
          <p:nvPr/>
        </p:nvSpPr>
        <p:spPr bwMode="auto">
          <a:xfrm>
            <a:off x="5513969" y="-495877"/>
            <a:ext cx="2688395" cy="153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altLang="en-US" sz="1000" dirty="0">
                <a:solidFill>
                  <a:schemeClr val="bg2"/>
                </a:solidFill>
              </a:rPr>
              <a:t>Январь – </a:t>
            </a:r>
            <a:r>
              <a:rPr lang="ru-RU" altLang="en-US" sz="1000" dirty="0" smtClean="0">
                <a:solidFill>
                  <a:schemeClr val="bg2"/>
                </a:solidFill>
              </a:rPr>
              <a:t>Март 2017</a:t>
            </a:r>
            <a:endParaRPr lang="ru-RU" altLang="en-US" sz="1000" dirty="0">
              <a:solidFill>
                <a:schemeClr val="bg2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4249836" y="3049320"/>
            <a:ext cx="4569003" cy="24598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 sz="216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000" b="1" dirty="0">
                <a:latin typeface="+mj-lt"/>
              </a:rPr>
              <a:t>Доля интернет-продаж значительно различается по странам</a:t>
            </a: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 rot="16200000">
            <a:off x="-7023" y="1852257"/>
            <a:ext cx="121864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altLang="uk-UA" sz="1100" b="1" dirty="0" smtClean="0"/>
              <a:t>Темпы роста</a:t>
            </a:r>
            <a:endParaRPr lang="uk-UA" altLang="uk-UA" sz="1100" dirty="0"/>
          </a:p>
        </p:txBody>
      </p:sp>
      <p:sp>
        <p:nvSpPr>
          <p:cNvPr id="33" name="Title 3"/>
          <p:cNvSpPr>
            <a:spLocks noGrp="1"/>
          </p:cNvSpPr>
          <p:nvPr>
            <p:ph type="title"/>
          </p:nvPr>
        </p:nvSpPr>
        <p:spPr>
          <a:xfrm>
            <a:off x="317445" y="303163"/>
            <a:ext cx="6408889" cy="576080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ru-RU" altLang="uk-UA" dirty="0" smtClean="0"/>
              <a:t>Европейский рынок бытовой техники и электроники,  январь – март 2017 </a:t>
            </a:r>
            <a:endParaRPr lang="en-US" altLang="uk-UA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5670" y="1018571"/>
            <a:ext cx="7791363" cy="233497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8476" y="3139565"/>
            <a:ext cx="3651821" cy="149364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0502" y="3149956"/>
            <a:ext cx="6212362" cy="1926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06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THINKCELLUNDODONOTDELETE" val="0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Template PPT 2003 4-3.pot"/>
  <p:tag name="VCTMASTER" val="GfK Master for PPT 2010 4-3"/>
  <p:tag name="VCTORDER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986eefbff5f4b2788134fa6982c273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986eefbff5f4b2788134fa6982c2730>
    <TaxCatchAll xmlns="eaa6d935-851e-4683-8fb3-4830ef9470e6">
      <Value>68</Value>
      <Value>464</Value>
      <Value>64</Value>
      <Value>57</Value>
      <Value>1781</Value>
      <Value>353</Value>
      <Value>97</Value>
      <Value>73</Value>
      <Value>69</Value>
    </TaxCatchAll>
    <m0c14ac2d9c042e3be8883c9fd5ef198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m0c14ac2d9c042e3be8883c9fd5ef198>
    <a9556e1ac9ee423090b285ae20260b0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ross Sector</TermName>
          <TermId xmlns="http://schemas.microsoft.com/office/infopath/2007/PartnerControls">d51dcd69-a6f7-4fb6-bc11-144a9da6fd82</TermId>
        </TermInfo>
      </Terms>
    </a9556e1ac9ee423090b285ae20260b00>
    <h059eda5e5c344e5901eabd9b8ae1d5d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h059eda5e5c344e5901eabd9b8ae1d5d>
    <e999b8edfbce4772b22c3a8c74ff36ce xmlns="fdaf2857-34a0-4271-9efd-53feeda81814">
      <Terms xmlns="http://schemas.microsoft.com/office/infopath/2007/PartnerControls"/>
    </e999b8edfbce4772b22c3a8c74ff36ce>
    <i6d89d2a22ad4b4885b9858a4f35747a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i6d89d2a22ad4b4885b9858a4f35747a>
    <PublishingExpirationDate xmlns="http://schemas.microsoft.com/sharepoint/v3" xsi:nil="true"/>
    <PublishingStartDate xmlns="http://schemas.microsoft.com/sharepoint/v3" xsi:nil="true"/>
    <jf0640f97dcd40049d3fc8c3d10ff855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jf0640f97dcd40049d3fc8c3d10ff855>
    <TaxKeywordTaxHTField xmlns="eaa6d935-851e-4683-8fb3-4830ef9470e6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</TermName>
          <TermId xmlns="http://schemas.microsoft.com/office/infopath/2007/PartnerControls">50a0b034-169b-4062-b9b1-f0dd9c5b2843</TermId>
        </TermInfo>
        <TermInfo xmlns="http://schemas.microsoft.com/office/infopath/2007/PartnerControls">
          <TermName xmlns="http://schemas.microsoft.com/office/infopath/2007/PartnerControls">template</TermName>
          <TermId xmlns="http://schemas.microsoft.com/office/infopath/2007/PartnerControls">14e0894c-c65f-40d3-8c04-dc2c7cb9794d</TermId>
        </TermInfo>
        <TermInfo xmlns="http://schemas.microsoft.com/office/infopath/2007/PartnerControls">
          <TermName xmlns="http://schemas.microsoft.com/office/infopath/2007/PartnerControls">template 16:9</TermName>
          <TermId xmlns="http://schemas.microsoft.com/office/infopath/2007/PartnerControls">feef3289-4d16-4292-b8f5-4aa93f02d2bc</TermId>
        </TermInfo>
      </Terms>
    </TaxKeywordTaxHTField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151DFF91B0A44197B29C020F8C642F" ma:contentTypeVersion="47" ma:contentTypeDescription="Create a new document." ma:contentTypeScope="" ma:versionID="dc12ddc0377c248d1da22c1be46733ac">
  <xsd:schema xmlns:xsd="http://www.w3.org/2001/XMLSchema" xmlns:xs="http://www.w3.org/2001/XMLSchema" xmlns:p="http://schemas.microsoft.com/office/2006/metadata/properties" xmlns:ns1="http://schemas.microsoft.com/sharepoint/v3" xmlns:ns2="fdaf2857-34a0-4271-9efd-53feeda81814" xmlns:ns3="eaa6d935-851e-4683-8fb3-4830ef9470e6" targetNamespace="http://schemas.microsoft.com/office/2006/metadata/properties" ma:root="true" ma:fieldsID="2c914b0922d7659b44e711b6a8f5daf5" ns1:_="" ns2:_="" ns3:_="">
    <xsd:import namespace="http://schemas.microsoft.com/sharepoint/v3"/>
    <xsd:import namespace="fdaf2857-34a0-4271-9efd-53feeda81814"/>
    <xsd:import namespace="eaa6d935-851e-4683-8fb3-4830ef9470e6"/>
    <xsd:element name="properties">
      <xsd:complexType>
        <xsd:sequence>
          <xsd:element name="documentManagement">
            <xsd:complexType>
              <xsd:all>
                <xsd:element ref="ns2:a9556e1ac9ee423090b285ae20260b00" minOccurs="0"/>
                <xsd:element ref="ns3:TaxCatchAll" minOccurs="0"/>
                <xsd:element ref="ns3:TaxCatchAllLabel" minOccurs="0"/>
                <xsd:element ref="ns2:h059eda5e5c344e5901eabd9b8ae1d5d" minOccurs="0"/>
                <xsd:element ref="ns2:p986eefbff5f4b2788134fa6982c2730" minOccurs="0"/>
                <xsd:element ref="ns2:e999b8edfbce4772b22c3a8c74ff36ce" minOccurs="0"/>
                <xsd:element ref="ns2:jf0640f97dcd40049d3fc8c3d10ff855" minOccurs="0"/>
                <xsd:element ref="ns2:i6d89d2a22ad4b4885b9858a4f35747a" minOccurs="0"/>
                <xsd:element ref="ns2:m0c14ac2d9c042e3be8883c9fd5ef198" minOccurs="0"/>
                <xsd:element ref="ns3:TaxKeywordTaxHTField" minOccurs="0"/>
                <xsd:element ref="ns1:PublishingStartDate" minOccurs="0"/>
                <xsd:element ref="ns1:PublishingExpirationDate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26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7" nillable="true" ma:displayName="Scheduling End Date" ma:description="" ma:hidden="true" ma:internalName="PublishingExpirationDate">
      <xsd:simpleType>
        <xsd:restriction base="dms:Unknown"/>
      </xsd:simpleType>
    </xsd:element>
    <xsd:element name="AverageRating" ma:index="28" nillable="true" ma:displayName="Rating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f2857-34a0-4271-9efd-53feeda81814" elementFormDefault="qualified">
    <xsd:import namespace="http://schemas.microsoft.com/office/2006/documentManagement/types"/>
    <xsd:import namespace="http://schemas.microsoft.com/office/infopath/2007/PartnerControls"/>
    <xsd:element name="a9556e1ac9ee423090b285ae20260b00" ma:index="2" nillable="true" ma:taxonomy="true" ma:internalName="a9556e1ac9ee423090b285ae20260b00" ma:taxonomyFieldName="GfK_x0020_sector" ma:displayName="GfK sector" ma:readOnly="false" ma:default="" ma:fieldId="{a9556e1a-c9ee-4230-90b2-85ae20260b00}" ma:taxonomyMulti="true" ma:sspId="7262ee28-f1c0-414c-ad77-c1ea98916dd9" ma:termSetId="8100b7d8-db72-494e-93d1-2c441bfd6c3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059eda5e5c344e5901eabd9b8ae1d5d" ma:index="6" nillable="true" ma:taxonomy="true" ma:internalName="h059eda5e5c344e5901eabd9b8ae1d5d" ma:taxonomyFieldName="Industries" ma:displayName="Industries" ma:readOnly="false" ma:default="" ma:fieldId="{1059eda5-e5c3-44e5-901e-abd9b8ae1d5d}" ma:taxonomyMulti="true" ma:sspId="7262ee28-f1c0-414c-ad77-c1ea98916dd9" ma:termSetId="5a885248-49da-421b-8a8b-00dd6ab23a4c" ma:anchorId="484d5cc4-00ce-4842-9cb2-84f285bc868b" ma:open="false" ma:isKeyword="false">
      <xsd:complexType>
        <xsd:sequence>
          <xsd:element ref="pc:Terms" minOccurs="0" maxOccurs="1"/>
        </xsd:sequence>
      </xsd:complexType>
    </xsd:element>
    <xsd:element name="p986eefbff5f4b2788134fa6982c2730" ma:index="8" nillable="true" ma:taxonomy="true" ma:internalName="p986eefbff5f4b2788134fa6982c2730" ma:taxonomyFieldName="Solutions" ma:displayName="Solutions" ma:readOnly="false" ma:default="" ma:fieldId="{9986eefb-ff5f-4b27-8813-4fa6982c2730}" ma:taxonomyMulti="true" ma:sspId="7262ee28-f1c0-414c-ad77-c1ea98916dd9" ma:termSetId="cbb9bdaf-82c2-446c-b699-94acba818cb2" ma:anchorId="c5ccb8f4-f96c-4fc7-ba62-720130679328" ma:open="false" ma:isKeyword="false">
      <xsd:complexType>
        <xsd:sequence>
          <xsd:element ref="pc:Terms" minOccurs="0" maxOccurs="1"/>
        </xsd:sequence>
      </xsd:complexType>
    </xsd:element>
    <xsd:element name="e999b8edfbce4772b22c3a8c74ff36ce" ma:index="10" nillable="true" ma:taxonomy="true" ma:internalName="e999b8edfbce4772b22c3a8c74ff36ce" ma:taxonomyFieldName="Methodology" ma:displayName="Methodology" ma:readOnly="false" ma:default="" ma:fieldId="{e999b8ed-fbce-4772-b22c-3a8c74ff36ce}" ma:taxonomyMulti="true" ma:sspId="7262ee28-f1c0-414c-ad77-c1ea98916dd9" ma:termSetId="bdaf93d5-d711-4073-8d3b-7629a135f3f3" ma:anchorId="84b66496-d990-4445-b5f1-adf2e2ce60f1" ma:open="false" ma:isKeyword="false">
      <xsd:complexType>
        <xsd:sequence>
          <xsd:element ref="pc:Terms" minOccurs="0" maxOccurs="1"/>
        </xsd:sequence>
      </xsd:complexType>
    </xsd:element>
    <xsd:element name="jf0640f97dcd40049d3fc8c3d10ff855" ma:index="13" nillable="true" ma:taxonomy="true" ma:internalName="jf0640f97dcd40049d3fc8c3d10ff855" ma:taxonomyFieldName="Clients" ma:displayName="Clients" ma:readOnly="false" ma:default="" ma:fieldId="{3f0640f9-7dcd-4004-9d3f-c8c3d10ff855}" ma:taxonomyMulti="true" ma:sspId="7262ee28-f1c0-414c-ad77-c1ea98916dd9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6d89d2a22ad4b4885b9858a4f35747a" ma:index="15" nillable="true" ma:taxonomy="true" ma:internalName="i6d89d2a22ad4b4885b9858a4f35747a" ma:taxonomyFieldName="Countries" ma:displayName="Countries" ma:readOnly="false" ma:default="" ma:fieldId="{26d89d2a-22ad-4b48-85b9-858a4f35747a}" ma:taxonomyMulti="true" ma:sspId="7262ee28-f1c0-414c-ad77-c1ea98916dd9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0c14ac2d9c042e3be8883c9fd5ef198" ma:index="17" nillable="true" ma:taxonomy="true" ma:internalName="m0c14ac2d9c042e3be8883c9fd5ef198" ma:taxonomyFieldName="Languages" ma:displayName="Languages" ma:readOnly="false" ma:default="" ma:fieldId="{60c14ac2-d9c0-42e3-be88-83c9fd5ef198}" ma:taxonomyMulti="true" ma:sspId="7262ee28-f1c0-414c-ad77-c1ea98916dd9" ma:termSetId="1e1fffb5-459f-480a-aca8-4e5bef29180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6d935-851e-4683-8fb3-4830ef9470e6" elementFormDefault="qualified">
    <xsd:import namespace="http://schemas.microsoft.com/office/2006/documentManagement/types"/>
    <xsd:import namespace="http://schemas.microsoft.com/office/infopath/2007/PartnerControls"/>
    <xsd:element name="TaxCatchAll" ma:index="3" nillable="true" ma:displayName="Taxonomy Catch All Column" ma:hidden="true" ma:list="{66c50aa7-9ab1-4f06-a013-2ec94beb8993}" ma:internalName="TaxCatchAll" ma:showField="CatchAllData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" nillable="true" ma:displayName="Taxonomy Catch All Column1" ma:hidden="true" ma:list="{66c50aa7-9ab1-4f06-a013-2ec94beb8993}" ma:internalName="TaxCatchAllLabel" ma:readOnly="true" ma:showField="CatchAllDataLabel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Keywords" ma:fieldId="{23f27201-bee3-471e-b2e7-b64fd8b7ca38}" ma:taxonomyMulti="true" ma:sspId="7262ee28-f1c0-414c-ad77-c1ea98916dd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46CF608-38BE-4E24-8388-F10F4FA2C224}">
  <ds:schemaRefs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  <ds:schemaRef ds:uri="http://purl.org/dc/elements/1.1/"/>
    <ds:schemaRef ds:uri="http://schemas.microsoft.com/office/infopath/2007/PartnerControls"/>
    <ds:schemaRef ds:uri="http://schemas.microsoft.com/sharepoint/v3"/>
    <ds:schemaRef ds:uri="http://purl.org/dc/terms/"/>
    <ds:schemaRef ds:uri="eaa6d935-851e-4683-8fb3-4830ef9470e6"/>
    <ds:schemaRef ds:uri="fdaf2857-34a0-4271-9efd-53feeda81814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2E0837A4-598C-40CD-BB99-6291242F7E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daf2857-34a0-4271-9efd-53feeda81814"/>
    <ds:schemaRef ds:uri="eaa6d935-851e-4683-8fb3-4830ef9470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 Office 2007-2010_16-9</Template>
  <TotalTime>0</TotalTime>
  <Words>647</Words>
  <Application>Microsoft Office PowerPoint</Application>
  <PresentationFormat>On-screen Show (16:9)</PresentationFormat>
  <Paragraphs>227</Paragraphs>
  <Slides>1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ourier New</vt:lpstr>
      <vt:lpstr>Lucida Grande</vt:lpstr>
      <vt:lpstr>Wingdings</vt:lpstr>
      <vt:lpstr>GfK Group</vt:lpstr>
      <vt:lpstr>think-cell Slide</vt:lpstr>
      <vt:lpstr>PowerPoint Presentation</vt:lpstr>
      <vt:lpstr>Количество интернет пользователей в Украине</vt:lpstr>
      <vt:lpstr>«Интернет покупатели» vs. «не покупатели»</vt:lpstr>
      <vt:lpstr>Cовершение покупок через интернет</vt:lpstr>
      <vt:lpstr>Портрет покупателя, пол и возраст </vt:lpstr>
      <vt:lpstr>Портрет покупателя, деятельность и доход</vt:lpstr>
      <vt:lpstr>Портрет покупателя, география  </vt:lpstr>
      <vt:lpstr>Объем рынка техники и электроники в Украине</vt:lpstr>
      <vt:lpstr>Европейский рынок бытовой техники и электроники,  январь – март 2017 </vt:lpstr>
      <vt:lpstr>Структура спроса отличается по каналам</vt:lpstr>
      <vt:lpstr>Доля онлайна растет или стабильна </vt:lpstr>
      <vt:lpstr>PowerPoint Presentation</vt:lpstr>
      <vt:lpstr>Благодарю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subject>[Subtitle of presentation]</dc:subject>
  <dc:creator/>
  <cp:keywords>PowerPoint; template; template 16:9</cp:keywords>
  <cp:lastModifiedBy/>
  <cp:revision>1</cp:revision>
  <dcterms:created xsi:type="dcterms:W3CDTF">2016-10-25T12:54:43Z</dcterms:created>
  <dcterms:modified xsi:type="dcterms:W3CDTF">2017-05-25T06:37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97;#Not applicable|457da623-78f9-49de-8564-b1618c49ba59</vt:lpwstr>
  </property>
  <property fmtid="{D5CDD505-2E9C-101B-9397-08002B2CF9AE}" pid="3" name="Countries">
    <vt:lpwstr>69;#Global|3eaca359-c4b3-4b51-a927-e9852da92384</vt:lpwstr>
  </property>
  <property fmtid="{D5CDD505-2E9C-101B-9397-08002B2CF9AE}" pid="4" name="TaxKeyword">
    <vt:lpwstr>1781;#PowerPoint|50a0b034-169b-4062-b9b1-f0dd9c5b2843;#464;#template|14e0894c-c65f-40d3-8c04-dc2c7cb9794d;#353;#template 16:9|feef3289-4d16-4292-b8f5-4aa93f02d2bc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D9151DFF91B0A44197B29C020F8C642F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57;#Not applicable|1b0d69d1-6137-41de-9ae5-e5925610d8cb</vt:lpwstr>
  </property>
  <property fmtid="{D5CDD505-2E9C-101B-9397-08002B2CF9AE}" pid="11" name="Methodology">
    <vt:lpwstr/>
  </property>
  <property fmtid="{D5CDD505-2E9C-101B-9397-08002B2CF9AE}" pid="12" name="AverageRating">
    <vt:lpwstr/>
  </property>
</Properties>
</file>